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 bookmarkIdSeed="3">
  <p:sldMasterIdLst>
    <p:sldMasterId id="2147483709" r:id="rId1"/>
  </p:sldMasterIdLst>
  <p:notesMasterIdLst>
    <p:notesMasterId r:id="rId40"/>
  </p:notesMasterIdLst>
  <p:handoutMasterIdLst>
    <p:handoutMasterId r:id="rId41"/>
  </p:handoutMasterIdLst>
  <p:sldIdLst>
    <p:sldId id="259" r:id="rId2"/>
    <p:sldId id="481" r:id="rId3"/>
    <p:sldId id="528" r:id="rId4"/>
    <p:sldId id="484" r:id="rId5"/>
    <p:sldId id="497" r:id="rId6"/>
    <p:sldId id="518" r:id="rId7"/>
    <p:sldId id="427" r:id="rId8"/>
    <p:sldId id="539" r:id="rId9"/>
    <p:sldId id="531" r:id="rId10"/>
    <p:sldId id="536" r:id="rId11"/>
    <p:sldId id="483" r:id="rId12"/>
    <p:sldId id="516" r:id="rId13"/>
    <p:sldId id="510" r:id="rId14"/>
    <p:sldId id="509" r:id="rId15"/>
    <p:sldId id="501" r:id="rId16"/>
    <p:sldId id="506" r:id="rId17"/>
    <p:sldId id="505" r:id="rId18"/>
    <p:sldId id="526" r:id="rId19"/>
    <p:sldId id="468" r:id="rId20"/>
    <p:sldId id="530" r:id="rId21"/>
    <p:sldId id="447" r:id="rId22"/>
    <p:sldId id="465" r:id="rId23"/>
    <p:sldId id="421" r:id="rId24"/>
    <p:sldId id="524" r:id="rId25"/>
    <p:sldId id="431" r:id="rId26"/>
    <p:sldId id="445" r:id="rId27"/>
    <p:sldId id="450" r:id="rId28"/>
    <p:sldId id="456" r:id="rId29"/>
    <p:sldId id="435" r:id="rId30"/>
    <p:sldId id="381" r:id="rId31"/>
    <p:sldId id="476" r:id="rId32"/>
    <p:sldId id="537" r:id="rId33"/>
    <p:sldId id="403" r:id="rId34"/>
    <p:sldId id="492" r:id="rId35"/>
    <p:sldId id="490" r:id="rId36"/>
    <p:sldId id="472" r:id="rId37"/>
    <p:sldId id="477" r:id="rId38"/>
    <p:sldId id="538" r:id="rId39"/>
  </p:sldIdLst>
  <p:sldSz cx="10080625" cy="7561263"/>
  <p:notesSz cx="6797675" cy="9928225"/>
  <p:custDataLst>
    <p:tags r:id="rId42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382" userDrawn="1">
          <p15:clr>
            <a:srgbClr val="A4A3A4"/>
          </p15:clr>
        </p15:guide>
        <p15:guide id="17" pos="1792" userDrawn="1">
          <p15:clr>
            <a:srgbClr val="A4A3A4"/>
          </p15:clr>
        </p15:guide>
        <p15:guide id="23" orient="horz" pos="272" userDrawn="1">
          <p15:clr>
            <a:srgbClr val="A4A3A4"/>
          </p15:clr>
        </p15:guide>
        <p15:guide id="25" orient="horz" pos="567" userDrawn="1">
          <p15:clr>
            <a:srgbClr val="A4A3A4"/>
          </p15:clr>
        </p15:guide>
        <p15:guide id="26" orient="horz" pos="3856" userDrawn="1">
          <p15:clr>
            <a:srgbClr val="A4A3A4"/>
          </p15:clr>
        </p15:guide>
        <p15:guide id="27" orient="horz" pos="817" userDrawn="1">
          <p15:clr>
            <a:srgbClr val="A4A3A4"/>
          </p15:clr>
        </p15:guide>
        <p15:guide id="28" orient="horz" pos="2790" userDrawn="1">
          <p15:clr>
            <a:srgbClr val="A4A3A4"/>
          </p15:clr>
        </p15:guide>
        <p15:guide id="29" orient="horz" pos="4627" userDrawn="1">
          <p15:clr>
            <a:srgbClr val="A4A3A4"/>
          </p15:clr>
        </p15:guide>
        <p15:guide id="30" orient="horz" pos="4513" userDrawn="1">
          <p15:clr>
            <a:srgbClr val="A4A3A4"/>
          </p15:clr>
        </p15:guide>
        <p15:guide id="31" pos="1746" userDrawn="1">
          <p15:clr>
            <a:srgbClr val="A4A3A4"/>
          </p15:clr>
        </p15:guide>
        <p15:guide id="32" pos="1633" userDrawn="1">
          <p15:clr>
            <a:srgbClr val="A4A3A4"/>
          </p15:clr>
        </p15:guide>
        <p15:guide id="34" pos="6101" userDrawn="1">
          <p15:clr>
            <a:srgbClr val="A4A3A4"/>
          </p15:clr>
        </p15:guide>
        <p15:guide id="35" pos="4672" userDrawn="1">
          <p15:clr>
            <a:srgbClr val="A4A3A4"/>
          </p15:clr>
        </p15:guide>
        <p15:guide id="36" pos="4581" userDrawn="1">
          <p15:clr>
            <a:srgbClr val="A4A3A4"/>
          </p15:clr>
        </p15:guide>
        <p15:guide id="37" pos="3243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pos="299" userDrawn="1">
          <p15:clr>
            <a:srgbClr val="A4A3A4"/>
          </p15:clr>
        </p15:guide>
        <p15:guide id="4" pos="398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Szerző" initials="S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3770"/>
    <a:srgbClr val="E20074"/>
    <a:srgbClr val="E20000"/>
    <a:srgbClr val="E5F1F5"/>
    <a:srgbClr val="1B4B73"/>
    <a:srgbClr val="00FFFF"/>
    <a:srgbClr val="992C99"/>
    <a:srgbClr val="FFFF99"/>
    <a:srgbClr val="4B4B4B"/>
    <a:srgbClr val="C4C4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25" autoAdjust="0"/>
    <p:restoredTop sz="94620" autoAdjust="0"/>
  </p:normalViewPr>
  <p:slideViewPr>
    <p:cSldViewPr snapToGrid="0" snapToObjects="1">
      <p:cViewPr varScale="1">
        <p:scale>
          <a:sx n="105" d="100"/>
          <a:sy n="105" d="100"/>
        </p:scale>
        <p:origin x="1704" y="108"/>
      </p:cViewPr>
      <p:guideLst>
        <p:guide orient="horz" pos="2382"/>
        <p:guide pos="1792"/>
        <p:guide orient="horz" pos="272"/>
        <p:guide orient="horz" pos="567"/>
        <p:guide orient="horz" pos="3856"/>
        <p:guide orient="horz" pos="817"/>
        <p:guide orient="horz" pos="2790"/>
        <p:guide orient="horz" pos="4627"/>
        <p:guide orient="horz" pos="4513"/>
        <p:guide pos="1746"/>
        <p:guide pos="1633"/>
        <p:guide pos="6101"/>
        <p:guide pos="4672"/>
        <p:guide pos="4581"/>
        <p:guide pos="3243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6" d="100"/>
        <a:sy n="86" d="100"/>
      </p:scale>
      <p:origin x="0" y="-6632"/>
    </p:cViewPr>
  </p:sorterViewPr>
  <p:notesViewPr>
    <p:cSldViewPr snapToGrid="0" snapToObjects="1" showGuides="1">
      <p:cViewPr>
        <p:scale>
          <a:sx n="50" d="100"/>
          <a:sy n="50" d="100"/>
        </p:scale>
        <p:origin x="4688" y="1168"/>
      </p:cViewPr>
      <p:guideLst>
        <p:guide orient="horz" pos="3127"/>
        <p:guide pos="2141"/>
        <p:guide pos="299"/>
        <p:guide pos="398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5501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78356" y="261995"/>
            <a:ext cx="5806347" cy="280956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6950" y="403225"/>
            <a:ext cx="4803775" cy="3603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4589" y="4209154"/>
            <a:ext cx="5848498" cy="49744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5563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7618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35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79703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2337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3853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345300-06CA-40BE-9A9D-B151DEC6D99A}" type="slidenum">
              <a:rPr lang="hu-HU" smtClean="0"/>
              <a:pPr/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335936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4289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0173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5284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56505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134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6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6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black">
          <a:xfrm>
            <a:off x="360000" y="6678000"/>
            <a:ext cx="3606868" cy="6551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8240067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12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6" y="140"/>
            <a:ext cx="10076750" cy="7559619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80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14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885211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57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3960000"/>
            <a:ext cx="9360000" cy="2486908"/>
          </a:xfrm>
        </p:spPr>
        <p:txBody>
          <a:bodyPr anchor="b" anchorCtr="0"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487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1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8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8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hu-HU"/>
              <a:t>Kép beszúrásához kattintson az ikonra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9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21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9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1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600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(Ultra)</a:t>
            </a:r>
            <a:br>
              <a:rPr lang="en-US" dirty="0"/>
            </a:b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2" name="Grafik 21" descr="TSY_Logo_3c_p.emf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0000" y="6678000"/>
            <a:ext cx="3606868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2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9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61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Quotation/lead-i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64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3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66669" y="366765"/>
            <a:ext cx="9504233" cy="58719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>
          <a:xfrm>
            <a:off x="7565331" y="6951844"/>
            <a:ext cx="1984735" cy="320455"/>
          </a:xfrm>
        </p:spPr>
        <p:txBody>
          <a:bodyPr/>
          <a:lstStyle>
            <a:lvl1pPr>
              <a:defRPr/>
            </a:lvl1pPr>
          </a:lstStyle>
          <a:p>
            <a:fld id="{15F47461-9E08-48B0-B8F3-475EC6927FBB}" type="datetimeFigureOut">
              <a:rPr lang="hu-HU" smtClean="0"/>
              <a:pPr/>
              <a:t>2019. 05. 23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2847242" y="6951844"/>
            <a:ext cx="4522253" cy="320455"/>
          </a:xfrm>
        </p:spPr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9479233" y="6951844"/>
            <a:ext cx="319446" cy="320455"/>
          </a:xfrm>
        </p:spPr>
        <p:txBody>
          <a:bodyPr/>
          <a:lstStyle>
            <a:lvl1pPr>
              <a:defRPr/>
            </a:lvl1pPr>
          </a:lstStyle>
          <a:p>
            <a:fld id="{481F85F3-2274-4739-8A27-7E3EE4CD86F0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894759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98"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0" name="Picture 3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6"/>
          <p:cNvPicPr>
            <a:picLocks noChangeAspect="1" noChangeArrowheads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60" r="1307"/>
          <a:stretch/>
        </p:blipFill>
        <p:spPr bwMode="auto">
          <a:xfrm>
            <a:off x="0" y="0"/>
            <a:ext cx="10080000" cy="7560000"/>
          </a:xfrm>
          <a:prstGeom prst="rect">
            <a:avLst/>
          </a:prstGeom>
          <a:noFill/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Grafik 27" descr="TSY_Logo_3c_p.emf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539823" y="6501629"/>
            <a:ext cx="3606868" cy="655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2734722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2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4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19"/>
          <p:cNvPicPr preferRelativeResize="0"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" b="38889"/>
          <a:stretch/>
        </p:blipFill>
        <p:spPr bwMode="gray">
          <a:xfrm>
            <a:off x="360000" y="360000"/>
            <a:ext cx="9360000" cy="3817553"/>
          </a:xfrm>
          <a:prstGeom prst="rect">
            <a:avLst/>
          </a:prstGeom>
          <a:noFill/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7" cstate="print"/>
          <a:srcRect r="11" b="-468"/>
          <a:stretch>
            <a:fillRect/>
          </a:stretch>
        </p:blipFill>
        <p:spPr bwMode="gray">
          <a:xfrm>
            <a:off x="360000" y="3660229"/>
            <a:ext cx="9360000" cy="53532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60000" y="4017731"/>
            <a:ext cx="9360000" cy="2138269"/>
          </a:xfrm>
          <a:solidFill>
            <a:schemeClr val="tx2"/>
          </a:solidFill>
        </p:spPr>
        <p:txBody>
          <a:bodyPr lIns="14399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/>
              <a:t>TeleGrotesk Headline (Ultra)</a:t>
            </a:r>
            <a:br>
              <a:rPr lang="en-US"/>
            </a:b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60000" y="5345957"/>
            <a:ext cx="9366613" cy="384080"/>
          </a:xfrm>
        </p:spPr>
        <p:txBody>
          <a:bodyPr wrap="square" lIns="143990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/>
              <a:t>Sub-heading: TeleGrotesk Normal, 24 pt</a:t>
            </a:r>
            <a:endParaRPr lang="en-US" dirty="0"/>
          </a:p>
        </p:txBody>
      </p:sp>
      <p:pic>
        <p:nvPicPr>
          <p:cNvPr id="23" name="Grafik 22" descr="TSY_Logo_3c_p.emf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60000" y="6678000"/>
            <a:ext cx="3606868" cy="6552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4802868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00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</a:t>
            </a: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27232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027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1937" y="821"/>
            <a:ext cx="10076751" cy="7559620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</a:t>
            </a: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51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964844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05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1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842" y="1"/>
            <a:ext cx="10078941" cy="7561263"/>
          </a:xfrm>
          <a:prstGeom prst="rect">
            <a:avLst/>
          </a:prstGeom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</a:t>
            </a: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25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9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7" y="140"/>
            <a:ext cx="10076747" cy="755961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099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Pictur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– Strictly confidential, Confidential, Internal–     Author /Presentation Topic</a:t>
            </a:r>
            <a:endParaRPr lang="en-US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/>
              <a:t>dd.mm.yyyy</a:t>
            </a:r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/>
          <a:stretch>
            <a:fillRect/>
          </a:stretch>
        </p:blipFill>
        <p:spPr bwMode="ltGray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TeleGrotesk HEADLINE </a:t>
            </a: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647" name="think-cell Folie" r:id="rId29" imgW="360" imgH="360" progId="">
                  <p:embed/>
                </p:oleObj>
              </mc:Choice>
              <mc:Fallback>
                <p:oleObj name="think-cell Folie" r:id="rId29" imgW="360" imgH="360" progId="">
                  <p:embed/>
                  <p:pic>
                    <p:nvPicPr>
                      <p:cNvPr id="0" name="Picture 5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39150" y="6980111"/>
            <a:ext cx="902850" cy="320455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de-DE" noProof="0" dirty="0" err="1"/>
              <a:t>dd.mm.yyyy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dirty="0"/>
              <a:t>– Strictly confidential, Confidential, Internal–     Author /Presentation Topic</a:t>
            </a:r>
          </a:p>
        </p:txBody>
      </p:sp>
      <p:pic>
        <p:nvPicPr>
          <p:cNvPr id="22" name="Grafik 21" descr="TSY_Logo_3c_p.emf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60000" y="6919200"/>
            <a:ext cx="2873604" cy="522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711" r:id="rId4"/>
    <p:sldLayoutId id="2147483725" r:id="rId5"/>
    <p:sldLayoutId id="2147483928" r:id="rId6"/>
    <p:sldLayoutId id="2147483926" r:id="rId7"/>
    <p:sldLayoutId id="2147483976" r:id="rId8"/>
    <p:sldLayoutId id="2147483964" r:id="rId9"/>
    <p:sldLayoutId id="2147483965" r:id="rId10"/>
    <p:sldLayoutId id="2147483967" r:id="rId11"/>
    <p:sldLayoutId id="2147483968" r:id="rId12"/>
    <p:sldLayoutId id="2147483972" r:id="rId13"/>
    <p:sldLayoutId id="2147483971" r:id="rId14"/>
    <p:sldLayoutId id="2147483973" r:id="rId15"/>
    <p:sldLayoutId id="2147483716" r:id="rId16"/>
    <p:sldLayoutId id="2147483718" r:id="rId17"/>
    <p:sldLayoutId id="2147483722" r:id="rId18"/>
    <p:sldLayoutId id="2147483723" r:id="rId19"/>
    <p:sldLayoutId id="2147483969" r:id="rId20"/>
    <p:sldLayoutId id="2147483970" r:id="rId21"/>
    <p:sldLayoutId id="2147483930" r:id="rId22"/>
    <p:sldLayoutId id="2147483959" r:id="rId23"/>
    <p:sldLayoutId id="2147483960" r:id="rId24"/>
    <p:sldLayoutId id="2147483977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americanlibrariesmagazine.org/blogs/the-scoop/ai-lab-library/" TargetMode="External"/><Relationship Id="rId2" Type="http://schemas.openxmlformats.org/officeDocument/2006/relationships/hyperlink" Target="https://books.google.com/talktobooks/" TargetMode="Externa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://musingsaboutlibrarianship.blogspot.sg/2013/09/the-day-library-discovery-died-2035.html" TargetMode="Externa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www.slideserve.com/thais/mesters-ges-intelligenci-k" TargetMode="Externa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link.springer.com/article/10.1007/s10462-018-09679-z" TargetMode="Externa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link.springer.com/article/10.1007/s10462-018-09679-z" TargetMode="Externa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personal.sirma.bg/vladimir/crm-tutorial/" TargetMode="Externa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hyperlink" Target="https://www.google.hu/url?sa=i&amp;rct=j&amp;q=&amp;esrc=s&amp;source=images&amp;cd=&amp;cad=rja&amp;uact=8&amp;ved=0ahUKEwi1i76i_9jVAhUDGZoKHfKGBIcQjRwIBw&amp;url=https://www.boell.de/en/2017/04/10/report-trenches-debate-around-teaching-gender-studies-hungary&amp;psig=AFQjCNGOctKYva9CaDFpD1PsM0_y2rPsLQ&amp;ust=1502876931805856" TargetMode="External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jpeg"/><Relationship Id="rId15" Type="http://schemas.openxmlformats.org/officeDocument/2006/relationships/image" Target="../media/image28.png"/><Relationship Id="rId10" Type="http://schemas.openxmlformats.org/officeDocument/2006/relationships/image" Target="../media/image23.png"/><Relationship Id="rId4" Type="http://schemas.openxmlformats.org/officeDocument/2006/relationships/image" Target="../media/image17.jpeg"/><Relationship Id="rId9" Type="http://schemas.openxmlformats.org/officeDocument/2006/relationships/image" Target="../media/image22.png"/><Relationship Id="rId1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8.jpeg"/><Relationship Id="rId4" Type="http://schemas.openxmlformats.org/officeDocument/2006/relationships/hyperlink" Target="https://www.youtube.com/watch?v=78-1MlkxyqI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3.png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hu.wikipedia.org/wiki/Sz%C3%A1m%C3%ADt%C3%B3g%C3%A9pes_j%C3%A1t%C3%A9k" TargetMode="External"/><Relationship Id="rId2" Type="http://schemas.openxmlformats.org/officeDocument/2006/relationships/hyperlink" Target="http://computersinlibaries.infotoday.com/2017/Thursday.aspx" TargetMode="Externa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8.jpeg"/><Relationship Id="rId5" Type="http://schemas.openxmlformats.org/officeDocument/2006/relationships/image" Target="../media/image46.png"/><Relationship Id="rId4" Type="http://schemas.openxmlformats.org/officeDocument/2006/relationships/image" Target="../media/image4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dzone.com/articles/solving-architectural-dilemmas-to-create-actionabl?fromrel=true" TargetMode="External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PubMed" TargetMode="External"/><Relationship Id="rId2" Type="http://schemas.openxmlformats.org/officeDocument/2006/relationships/hyperlink" Target="https://en.wikipedia.org/wiki/Google_Scholar" TargetMode="Externa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6.png"/><Relationship Id="rId4" Type="http://schemas.openxmlformats.org/officeDocument/2006/relationships/hyperlink" Target="http://www.kithirlevel.hu/index.php?kh=mesterseges_intelligencia_keresi_a_tut_a_szenakazalban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pdfs.semanticscholar.org/4f36/9ac2940237a348edd431c37fca901b64c731.pdf" TargetMode="External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hyperlink" Target="http://www.ala.org/acrl/sites/ala.org.acrl/files/content/conferences/pdf/ma.pdf" TargetMode="Externa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://schema.org/" TargetMode="External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9.xml"/><Relationship Id="rId4" Type="http://schemas.openxmlformats.org/officeDocument/2006/relationships/hyperlink" Target="http://bibliograph.net/" TargetMode="Externa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hu.wikipedia.org/wiki/Sz%C3%A9kesfeh%C3%A9rv%C3%A1r" TargetMode="External"/><Relationship Id="rId13" Type="http://schemas.openxmlformats.org/officeDocument/2006/relationships/hyperlink" Target="http://www.konyv-e.hu/pdf/Chronica_Picta.pdf" TargetMode="External"/><Relationship Id="rId18" Type="http://schemas.openxmlformats.org/officeDocument/2006/relationships/hyperlink" Target="https://hu.wikipedia.org/wiki/1861" TargetMode="External"/><Relationship Id="rId3" Type="http://schemas.openxmlformats.org/officeDocument/2006/relationships/image" Target="../media/image57.jpeg"/><Relationship Id="rId7" Type="http://schemas.openxmlformats.org/officeDocument/2006/relationships/hyperlink" Target="https://hu.wikipedia.org/wiki/Esztergom" TargetMode="External"/><Relationship Id="rId12" Type="http://schemas.openxmlformats.org/officeDocument/2006/relationships/image" Target="../media/image63.png"/><Relationship Id="rId17" Type="http://schemas.openxmlformats.org/officeDocument/2006/relationships/image" Target="../media/image66.jpe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5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60.jpeg"/><Relationship Id="rId11" Type="http://schemas.openxmlformats.org/officeDocument/2006/relationships/hyperlink" Target="http://viaf.org/viaf/72498726" TargetMode="External"/><Relationship Id="rId5" Type="http://schemas.openxmlformats.org/officeDocument/2006/relationships/image" Target="../media/image59.jpeg"/><Relationship Id="rId15" Type="http://schemas.openxmlformats.org/officeDocument/2006/relationships/image" Target="../media/image64.jpeg"/><Relationship Id="rId10" Type="http://schemas.openxmlformats.org/officeDocument/2006/relationships/image" Target="../media/image62.png"/><Relationship Id="rId19" Type="http://schemas.openxmlformats.org/officeDocument/2006/relationships/image" Target="../media/image67.png"/><Relationship Id="rId4" Type="http://schemas.openxmlformats.org/officeDocument/2006/relationships/image" Target="../media/image58.jpeg"/><Relationship Id="rId9" Type="http://schemas.openxmlformats.org/officeDocument/2006/relationships/image" Target="../media/image61.jpeg"/><Relationship Id="rId14" Type="http://schemas.openxmlformats.org/officeDocument/2006/relationships/hyperlink" Target="http://mek.oszk.hu/01900/01992/html/index272.html" TargetMode="Externa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oclc.org/en/worldcat-discovery.html" TargetMode="External"/><Relationship Id="rId3" Type="http://schemas.openxmlformats.org/officeDocument/2006/relationships/image" Target="../media/image68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6" Type="http://schemas.openxmlformats.org/officeDocument/2006/relationships/hyperlink" Target="http://wikiba.se/applications" TargetMode="External"/><Relationship Id="rId5" Type="http://schemas.openxmlformats.org/officeDocument/2006/relationships/image" Target="../media/image70.png"/><Relationship Id="rId10" Type="http://schemas.openxmlformats.org/officeDocument/2006/relationships/image" Target="../media/image72.png"/><Relationship Id="rId4" Type="http://schemas.openxmlformats.org/officeDocument/2006/relationships/image" Target="../media/image69.png"/><Relationship Id="rId9" Type="http://schemas.openxmlformats.org/officeDocument/2006/relationships/hyperlink" Target="https://www.oclc.org/content/dam/research/images/Themes/linked-data.png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8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artner.com/smarterwithgartner/gartner-top-10-strategic-technology-trends-for-2018/" TargetMode="External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8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6.png"/><Relationship Id="rId4" Type="http://schemas.openxmlformats.org/officeDocument/2006/relationships/image" Target="../media/image7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Aft>
                  <a:spcPct val="0"/>
                </a:spcAft>
              </a:pPr>
              <a:t>1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zövegdoboz 1"/>
          <p:cNvSpPr txBox="1"/>
          <p:nvPr/>
        </p:nvSpPr>
        <p:spPr>
          <a:xfrm>
            <a:off x="555951" y="5158591"/>
            <a:ext cx="8903584" cy="1919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endParaRPr lang="hu-HU" sz="2000" b="1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SH Könyvtár - </a:t>
            </a:r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KE Társadalomtudományi Szekció</a:t>
            </a:r>
          </a:p>
          <a:p>
            <a:pPr algn="ctr"/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2019.03.12.</a:t>
            </a:r>
          </a:p>
          <a:p>
            <a:pPr algn="ctr"/>
            <a:endParaRPr lang="hu-HU" sz="2000" b="1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algn="ctr"/>
            <a:endParaRPr lang="hu-HU" sz="2000" b="1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algn="ctr"/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					Horváth Zoltánné</a:t>
            </a:r>
          </a:p>
        </p:txBody>
      </p:sp>
      <p:sp>
        <p:nvSpPr>
          <p:cNvPr id="4" name="Téglalap 3"/>
          <p:cNvSpPr/>
          <p:nvPr/>
        </p:nvSpPr>
        <p:spPr bwMode="gray">
          <a:xfrm>
            <a:off x="332509" y="691435"/>
            <a:ext cx="9394104" cy="2680322"/>
          </a:xfrm>
          <a:prstGeom prst="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/>
            <a:r>
              <a:rPr lang="hu-HU" sz="4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udományos könyvtárak</a:t>
            </a:r>
          </a:p>
          <a:p>
            <a:pPr algn="ctr"/>
            <a:r>
              <a:rPr lang="hu-HU" sz="4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a mesterséges</a:t>
            </a:r>
          </a:p>
          <a:p>
            <a:pPr algn="ctr"/>
            <a:r>
              <a:rPr lang="hu-HU" sz="4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lligencia – </a:t>
            </a:r>
          </a:p>
          <a:p>
            <a:pPr algn="ctr"/>
            <a:r>
              <a:rPr lang="hu-H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lcsönhatások és inspirációk</a:t>
            </a: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384" y="4004180"/>
            <a:ext cx="2648717" cy="9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34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A mesterséges intelligencia hatása a szakkönyvtári szolgáltatásokra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1220011"/>
            <a:ext cx="9236741" cy="5572674"/>
          </a:xfrm>
          <a:solidFill>
            <a:schemeClr val="bg1"/>
          </a:solidFill>
        </p:spPr>
        <p:txBody>
          <a:bodyPr/>
          <a:lstStyle/>
          <a:p>
            <a:pPr marL="285750" indent="-285750" defTabSz="457322">
              <a:lnSpc>
                <a:spcPts val="2400"/>
              </a:lnSpc>
              <a:spcBef>
                <a:spcPts val="300"/>
              </a:spcBef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tágítja a tudományos tartalmak elérhetőségét</a:t>
            </a:r>
          </a:p>
          <a:p>
            <a:pPr marL="501750" lvl="2" indent="-285750" defTabSz="45732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veli az áttekintés sebességét és a források teljességét</a:t>
            </a:r>
          </a:p>
          <a:p>
            <a:pPr marL="501750" lvl="2" indent="-285750" defTabSz="45732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ett szolgáltatásokat biztosít a szelekciónál, rendezésnél, csoportba sorolásnál</a:t>
            </a:r>
          </a:p>
          <a:p>
            <a:pPr marL="501750" lvl="2" indent="-285750" defTabSz="45732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goritmusokat alkalmaz a tudományos tartalmak természetes nyelvi elemzéséhez, értelmezéséhez, szövegek és képek automatikus felismeréséhez </a:t>
            </a:r>
          </a:p>
          <a:p>
            <a:pPr marL="501750" lvl="2" indent="-285750" defTabSz="457322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ai hátteret nyújt a természetes nyelvi kereséshez és interpretáláshoz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orsabb indexelő szolgáltatáso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vonatolás géppel, rejtett rétegek feltárása, válaszok tágabb forrásokra támaszkodv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minták alapján szabályok és összefüggések felismerés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jellemzők és tartalmak jobb kiemelése, az elemzéshez minta alapú keresések és értékelések, a neurális hálók alapján kialakítható kereséstípusok fejlesztése, az eredmények értékelése, automatikus következtetések beépítése, stb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használói és </a:t>
            </a:r>
            <a:r>
              <a:rPr lang="hu-HU" sz="16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f</a:t>
            </a: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terfésze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ználói visszajelzések, folyamatos visszacsatolás (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tbox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rtuális asszisztensek: Amazon, Alexa, stb.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lső fejlett szolgáltatások beépítés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ztelés, értékelés, terjesztés 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1600" u="sng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Talk to Books</a:t>
            </a:r>
            <a:r>
              <a:rPr lang="hu-HU" sz="1600" u="sng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u="sng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antic</a:t>
            </a:r>
            <a:r>
              <a:rPr lang="hu-HU" sz="1600" u="sng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u="sng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lar</a:t>
            </a:r>
            <a:r>
              <a:rPr lang="hu-HU" sz="1600" u="sng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Google </a:t>
            </a:r>
            <a:r>
              <a:rPr lang="hu-HU" sz="1600" u="sng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lar</a:t>
            </a:r>
            <a:r>
              <a:rPr lang="hu-HU" sz="1600" u="sng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u="sng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Cat</a:t>
            </a:r>
            <a:r>
              <a:rPr lang="hu-HU" sz="1600" u="sng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AF, ISNI, </a:t>
            </a:r>
            <a:r>
              <a:rPr lang="hu-HU" sz="1600" u="sng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data</a:t>
            </a:r>
            <a:r>
              <a:rPr lang="hu-HU" sz="1600" u="sng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tb.) </a:t>
            </a:r>
            <a:r>
              <a:rPr lang="hu-HU" sz="1600" u="sng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americanlibrariesmagazine.org/blogs/the-scoop/ai-lab-library/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875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1</a:t>
            </a:fld>
            <a:endParaRPr lang="en-US" dirty="0"/>
          </a:p>
        </p:txBody>
      </p:sp>
      <p:sp>
        <p:nvSpPr>
          <p:cNvPr id="8" name="Téglalap 7"/>
          <p:cNvSpPr/>
          <p:nvPr/>
        </p:nvSpPr>
        <p:spPr>
          <a:xfrm>
            <a:off x="367493" y="944424"/>
            <a:ext cx="9430256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4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esterséges intelligencia szolgáltatás nyílt forrásokkal nyeri el működésének értelmét.  </a:t>
            </a:r>
            <a:r>
              <a:rPr lang="hu-HU" sz="24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24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ynder</a:t>
            </a:r>
            <a:r>
              <a:rPr lang="hu-HU" sz="24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ichard (2))</a:t>
            </a:r>
          </a:p>
          <a:p>
            <a:endParaRPr lang="hu-HU" sz="2400" b="1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utomata kereső minden szükséges vagy lehetséges forrás elolvasása után helyes választ ad? Kérdések és kétségek: </a:t>
            </a:r>
          </a:p>
          <a:p>
            <a:endParaRPr lang="hu-HU" sz="18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8972" lvl="1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kete doboz szindróma - ellenőrizhető? </a:t>
            </a:r>
          </a:p>
          <a:p>
            <a:pPr marL="918972" lvl="1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 szűrhető ki a „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ke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s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vagy a rossz válasz?</a:t>
            </a:r>
          </a:p>
          <a:p>
            <a:pPr marL="918972" lvl="1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an tarthatja meg a könyvtár az értékes forrásokon alapuló szolgáltatási stratégiáját</a:t>
            </a:r>
          </a:p>
          <a:p>
            <a:pPr marL="918972" lvl="1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udományos kommunikáció hogyan fog változni (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printre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m lesz szükség?)</a:t>
            </a:r>
          </a:p>
          <a:p>
            <a:pPr marL="918972" lvl="1" indent="-3429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zolgáltatás helyett inkább intézményhez kapcsolódó unikális források?</a:t>
            </a:r>
            <a:r>
              <a:rPr lang="hu-HU" sz="1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sz="1800" i="1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discovery died -2035</a:t>
            </a:r>
            <a:r>
              <a:rPr lang="hu-HU" sz="1800" i="1" dirty="0">
                <a:latin typeface="Arial" panose="020B0604020202020204" pitchFamily="34" charset="0"/>
                <a:cs typeface="Arial" panose="020B0604020202020204" pitchFamily="34" charset="0"/>
              </a:rPr>
              <a:t>?)</a:t>
            </a:r>
            <a:endParaRPr lang="hu-HU" sz="18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414388" y="287915"/>
            <a:ext cx="9336466" cy="490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800" dirty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Open </a:t>
            </a:r>
            <a:r>
              <a:rPr lang="hu-HU" sz="2800" dirty="0" err="1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ccess</a:t>
            </a:r>
            <a:r>
              <a:rPr lang="hu-HU" sz="2800" dirty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és mesterséges intelligencia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348872" y="5050717"/>
            <a:ext cx="9058294" cy="239641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vász László: </a:t>
            </a:r>
            <a:r>
              <a:rPr lang="hu-HU" sz="18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„Nem vitás, hogy az emberi agy egy hatalmas hálózat, de hogy az agyra vonatkozó biológiai eredményeket hogyan lehet először hálózati nyelvre lefordítani, és aztán a hálózatok nyelve segítségével matematikailag megközelíteni – ehhez több tudomány művelőinek együttműködése szükséges (biológus, informatikus, nyelvész, stb.)” 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8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„… az agy „csak” egy a fontos a nagy hálózatok közül, nyilván hasonló szakértői segítségre lesz szükség az internet vagy a társadalmi hálózatok területén”.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terjú (MTA 2018)</a:t>
            </a:r>
            <a:endParaRPr lang="hu-HU" sz="18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345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Az értelmezés és a könyvtári alkalmazás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882123"/>
            <a:ext cx="9306387" cy="6679140"/>
          </a:xfrm>
          <a:solidFill>
            <a:schemeClr val="bg1"/>
          </a:solidFill>
        </p:spPr>
        <p:txBody>
          <a:bodyPr/>
          <a:lstStyle/>
          <a:p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pi program vagy mesterségesen létrehozott  intelligens módszer, reakció, cselekvés, amelyet számítógépes programok keretébe helyeznek, és megfelel a következő három kritérium valamelyikének:</a:t>
            </a:r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pes interaktív automatikus válaszokra emberi beavatkozás nélkül</a:t>
            </a:r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imulálja egy természetes intelligenciával rendelkező élőlény viselkedését</a:t>
            </a:r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élszerűen és megismételhető módon változtatja viselkedését a gépi tanulás és adaptáció képességének hátterével (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pédia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0"/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mérő:  milyen szinten tudja szimulálni az emberi tevékenységet vagy problémamegoldást</a:t>
            </a:r>
          </a:p>
          <a:p>
            <a:pPr lvl="0"/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mos László</a:t>
            </a:r>
            <a:r>
              <a:rPr lang="hu-H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matikai módszerekre alapozva keresi az intelligens viselkedés lényegét és fejlődését. </a:t>
            </a: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alapja a jól meghatározott és átfogó </a:t>
            </a:r>
            <a:r>
              <a:rPr lang="hu-HU" sz="1600" b="1" i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dásbázis</a:t>
            </a: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alamint  a megfelelő hatékonyságú, sokrétű és gyakorlatias </a:t>
            </a:r>
            <a:r>
              <a:rPr lang="hu-HU" sz="1600" b="1" i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ipulációs stratégia. 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Mesterséges intelligencia. Neurális hálózati struktúrájú mesterséges intelligenciák. </a:t>
            </a:r>
            <a:r>
              <a:rPr lang="hu-HU" sz="1600" u="sng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www.slideserve.com/thais/mesters-ges-intelligenci-k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0"/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ssel-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vig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1995) 4 jellemzője:</a:t>
            </a:r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, amely emberi gondolkodást képes szimulálni, </a:t>
            </a:r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pes az emberi gondolkodás </a:t>
            </a:r>
            <a:r>
              <a:rPr lang="hu-HU" sz="160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cionalitását </a:t>
            </a:r>
            <a:r>
              <a:rPr lang="hu-HU" sz="1600" smtClean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ükrözni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, amely képes az emberi cselekvést szimulálni, </a:t>
            </a:r>
          </a:p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pes racionálisan cselekedni</a:t>
            </a:r>
            <a:b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16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2</a:t>
            </a:fld>
            <a:endParaRPr lang="en-US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449" y="6272047"/>
            <a:ext cx="2648717" cy="9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133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02226" y="288698"/>
            <a:ext cx="9364663" cy="588082"/>
          </a:xfrm>
        </p:spPr>
        <p:txBody>
          <a:bodyPr/>
          <a:lstStyle/>
          <a:p>
            <a:pPr algn="ctr"/>
            <a: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  <a:t>A mesterséges intelligencia könyvtárak számára fontos innovációi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6613" y="1289192"/>
            <a:ext cx="9200276" cy="5851146"/>
          </a:xfrm>
        </p:spPr>
        <p:txBody>
          <a:bodyPr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észetes nyelvi folyamatok (</a:t>
            </a:r>
            <a:r>
              <a:rPr lang="hu-HU" sz="20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</a:t>
            </a:r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uage</a:t>
            </a:r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ssing</a:t>
            </a:r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NLP) </a:t>
            </a: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ismerés és programozás a gépi rendszerekben az automatikus folyamatokhoz; 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vak, szövegelemek osztályozása,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szterálása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vektorok); információk kiterjesztése, bővítése (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raction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szövegből beszéd, beszédből szöveg automatikus előállítása;  automatikus fordítás; szöveg és képelemek felismerése, automatikus címkézése;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pi tanulás, mély rétegek</a:t>
            </a: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sz="20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ep</a:t>
            </a: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0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ep</a:t>
            </a: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eb, stb.);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értői rendszerek fejlesztése és automatizálása</a:t>
            </a:r>
            <a:endParaRPr lang="hu-HU" sz="20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dásbázisok építése, következtető motorok és használói felületek tervezése, döntéstámogató rendszerek tervezése és kialakítása, automatizált folyamatok, programozott oktatás, e-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vezés, előkészítés, osztályozás és </a:t>
            </a:r>
            <a:r>
              <a:rPr lang="hu-HU" sz="20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alizáció</a:t>
            </a: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ódszerek a gépi automatizáláshoz;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otika, gépi kommunikáció, beszéd- és hangfelismerés, modellek;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zualitás fejlesztés, gépi látás, képfelismerés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age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on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hine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on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mented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ty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ty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video kamerák alkalmazásával, az analóg jelek digitális konverziójával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621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86543" y="174272"/>
            <a:ext cx="9364663" cy="588082"/>
          </a:xfrm>
        </p:spPr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Gépi tanulás tervez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61497" y="717704"/>
            <a:ext cx="6294992" cy="2987397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, output vagy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-user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ldal tervezése, adat vizualizáció, adatpublikálá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értő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pi tanulás modellje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ri és gépi intelligencia együttműködése – tervezés, felkészülés, hangolás, tesztelés, gépi tanulás algoritm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észek az AI eszközzel folytatott interakcióhoz</a:t>
            </a: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nyű kezelés, bővíthetőség, biztonság tervezése</a:t>
            </a:r>
          </a:p>
          <a:p>
            <a:pPr>
              <a:lnSpc>
                <a:spcPct val="100000"/>
              </a:lnSpc>
            </a:pPr>
            <a:r>
              <a:rPr lang="hu-HU" sz="12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medium.com/predict/what-i-have-learned-after-several-ai-projects-131e345ac5cd </a:t>
            </a:r>
          </a:p>
          <a:p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ényezők:</a:t>
            </a:r>
          </a:p>
          <a:p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4</a:t>
            </a:fld>
            <a:endParaRPr lang="en-US" dirty="0"/>
          </a:p>
        </p:txBody>
      </p:sp>
      <p:sp>
        <p:nvSpPr>
          <p:cNvPr id="5" name="Lekerekített téglalap 4"/>
          <p:cNvSpPr/>
          <p:nvPr/>
        </p:nvSpPr>
        <p:spPr bwMode="gray">
          <a:xfrm>
            <a:off x="261497" y="5836632"/>
            <a:ext cx="1674222" cy="792953"/>
          </a:xfrm>
          <a:prstGeom prst="round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chnológiai know-how</a:t>
            </a:r>
          </a:p>
        </p:txBody>
      </p:sp>
      <p:sp>
        <p:nvSpPr>
          <p:cNvPr id="6" name="Lekerekített téglalap 5"/>
          <p:cNvSpPr/>
          <p:nvPr/>
        </p:nvSpPr>
        <p:spPr bwMode="gray">
          <a:xfrm>
            <a:off x="261497" y="4759614"/>
            <a:ext cx="1859376" cy="792953"/>
          </a:xfrm>
          <a:prstGeom prst="roundRect">
            <a:avLst/>
          </a:prstGeom>
          <a:solidFill>
            <a:srgbClr val="1E377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tisztítás – homogenitás</a:t>
            </a:r>
          </a:p>
        </p:txBody>
      </p:sp>
      <p:sp>
        <p:nvSpPr>
          <p:cNvPr id="7" name="Lekerekített téglalap 6"/>
          <p:cNvSpPr/>
          <p:nvPr/>
        </p:nvSpPr>
        <p:spPr bwMode="gray">
          <a:xfrm>
            <a:off x="2262916" y="4759613"/>
            <a:ext cx="1557371" cy="792953"/>
          </a:xfrm>
          <a:prstGeom prst="roundRect">
            <a:avLst/>
          </a:prstGeom>
          <a:ln>
            <a:solidFill>
              <a:srgbClr val="1E377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készült szervezet</a:t>
            </a:r>
          </a:p>
        </p:txBody>
      </p:sp>
      <p:sp>
        <p:nvSpPr>
          <p:cNvPr id="8" name="Lekerekített téglalap 7"/>
          <p:cNvSpPr/>
          <p:nvPr/>
        </p:nvSpPr>
        <p:spPr bwMode="gray">
          <a:xfrm>
            <a:off x="222864" y="6913650"/>
            <a:ext cx="3850372" cy="517133"/>
          </a:xfrm>
          <a:prstGeom prst="roundRect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>
            <a:glow rad="63500">
              <a:schemeClr val="accent3">
                <a:satMod val="175000"/>
                <a:alpha val="40000"/>
              </a:schemeClr>
            </a:glow>
          </a:effectLst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rős számítás-technikai háttér</a:t>
            </a:r>
          </a:p>
        </p:txBody>
      </p:sp>
      <p:pic>
        <p:nvPicPr>
          <p:cNvPr id="11" name="Kép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3120" y="697688"/>
            <a:ext cx="2449651" cy="1775314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2" name="Szövegdoboz 11"/>
          <p:cNvSpPr txBox="1"/>
          <p:nvPr/>
        </p:nvSpPr>
        <p:spPr>
          <a:xfrm>
            <a:off x="7235687" y="923724"/>
            <a:ext cx="2331202" cy="931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ea typeface="Swagger" pitchFamily="2" charset="0"/>
            </a:endParaRPr>
          </a:p>
        </p:txBody>
      </p:sp>
      <p:sp>
        <p:nvSpPr>
          <p:cNvPr id="13" name="Szövegdoboz 12"/>
          <p:cNvSpPr txBox="1"/>
          <p:nvPr/>
        </p:nvSpPr>
        <p:spPr>
          <a:xfrm>
            <a:off x="7383120" y="2608656"/>
            <a:ext cx="2449651" cy="1225070"/>
          </a:xfrm>
          <a:prstGeom prst="rect">
            <a:avLst/>
          </a:prstGeom>
          <a:ln>
            <a:solidFill>
              <a:srgbClr val="1E377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tudós, adatmérnök, operációs rendszer mérnök, könyvtáros</a:t>
            </a:r>
            <a:endParaRPr lang="hu-HU" sz="1800" dirty="0">
              <a:solidFill>
                <a:srgbClr val="1E3770"/>
              </a:solidFill>
              <a:ea typeface="Swagger" pitchFamily="2" charset="0"/>
            </a:endParaRPr>
          </a:p>
        </p:txBody>
      </p:sp>
      <p:sp>
        <p:nvSpPr>
          <p:cNvPr id="17" name="Jobbra nyíl 16"/>
          <p:cNvSpPr/>
          <p:nvPr/>
        </p:nvSpPr>
        <p:spPr bwMode="gray">
          <a:xfrm>
            <a:off x="6618622" y="1219227"/>
            <a:ext cx="702365" cy="944926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" name="Szövegdoboz 17"/>
          <p:cNvSpPr txBox="1"/>
          <p:nvPr/>
        </p:nvSpPr>
        <p:spPr>
          <a:xfrm>
            <a:off x="4478240" y="4273754"/>
            <a:ext cx="5342654" cy="3171115"/>
          </a:xfrm>
          <a:prstGeom prst="rect">
            <a:avLst/>
          </a:prstGeom>
          <a:ln>
            <a:solidFill>
              <a:srgbClr val="1E377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34975" indent="-342900" defTabSz="457322" fontAlgn="base">
              <a:lnSpc>
                <a:spcPts val="2400"/>
              </a:lnSpc>
              <a:spcBef>
                <a:spcPts val="300"/>
              </a:spcBef>
              <a:spcAft>
                <a:spcPct val="0"/>
              </a:spcAft>
              <a:buClr>
                <a:srgbClr val="1E3770"/>
              </a:buClr>
              <a:buSzPct val="70000"/>
              <a:buFont typeface="+mj-lt"/>
              <a:buAutoNum type="arabicPeriod"/>
            </a:pP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-aaS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Amazon AI (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kognition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oud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on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BM Watson, AI funkciókkal, beépített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I-val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szöveg- és kép felismeréshez</a:t>
            </a:r>
          </a:p>
          <a:p>
            <a:pPr marL="434975" indent="-342900" defTabSz="457322" fontAlgn="base">
              <a:lnSpc>
                <a:spcPts val="2400"/>
              </a:lnSpc>
              <a:spcBef>
                <a:spcPts val="300"/>
              </a:spcBef>
              <a:spcAft>
                <a:spcPct val="0"/>
              </a:spcAft>
              <a:buClr>
                <a:srgbClr val="1E3770"/>
              </a:buClr>
              <a:buSzPct val="70000"/>
              <a:buFont typeface="+mj-lt"/>
              <a:buAutoNum type="arabicPeriod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üttműködés külső, AI szolgáltatásokra specializálódott  szervezettel</a:t>
            </a:r>
          </a:p>
          <a:p>
            <a:pPr marL="434975" indent="-342900" defTabSz="457293" fontAlgn="base">
              <a:lnSpc>
                <a:spcPts val="2400"/>
              </a:lnSpc>
              <a:buClr>
                <a:srgbClr val="1E3770"/>
              </a:buClr>
              <a:buSzPct val="75000"/>
              <a:buFont typeface="+mj-lt"/>
              <a:buAutoNum type="arabicPeriod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ját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épi tanulásra szolgáló rendszer tervezése (főként nagyobb IT cégek rendelkeznek megfelelő szakember és technológia háttérrel).</a:t>
            </a:r>
            <a:endParaRPr lang="hu-HU" sz="1800" dirty="0">
              <a:solidFill>
                <a:srgbClr val="1E3770"/>
              </a:solidFill>
              <a:ea typeface="Swagger" pitchFamily="2" charset="0"/>
            </a:endParaRPr>
          </a:p>
        </p:txBody>
      </p:sp>
      <p:sp>
        <p:nvSpPr>
          <p:cNvPr id="20" name="Jobbra nyíl 19"/>
          <p:cNvSpPr/>
          <p:nvPr/>
        </p:nvSpPr>
        <p:spPr bwMode="gray">
          <a:xfrm>
            <a:off x="3915976" y="5431529"/>
            <a:ext cx="463016" cy="534386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Lekerekített téglalap 21"/>
          <p:cNvSpPr/>
          <p:nvPr/>
        </p:nvSpPr>
        <p:spPr bwMode="gray">
          <a:xfrm>
            <a:off x="2262916" y="5836632"/>
            <a:ext cx="1557371" cy="792953"/>
          </a:xfrm>
          <a:prstGeom prst="roundRect">
            <a:avLst/>
          </a:prstGeom>
          <a:ln>
            <a:solidFill>
              <a:srgbClr val="1E3770"/>
            </a:solidFill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-aaS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iválasztás</a:t>
            </a:r>
          </a:p>
        </p:txBody>
      </p:sp>
    </p:spTree>
    <p:extLst>
      <p:ext uri="{BB962C8B-B14F-4D97-AF65-F5344CB8AC3E}">
        <p14:creationId xmlns:p14="http://schemas.microsoft.com/office/powerpoint/2010/main" val="4008606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A gépi tanulás és a mély rétegek a könyvtári szolgáltatások szempontjából </a:t>
            </a:r>
            <a: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b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1281350"/>
            <a:ext cx="9175886" cy="5858988"/>
          </a:xfrm>
          <a:noFill/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esterséges intelligencia fejlődésének kulcskérdés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smeretek tárolása és visszakeresése mellett a tanulás képessége milyen szintű?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jelentősebb összetevői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umán intelligencia képességeihez kapcsolódnak: tanulás, emlékezés, felidézés, következtetés, az ismeretek fejlesztése, példák elemzése, értékelése és beépítése a korábbi ismeretekbe.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pekkel nagy állományok áttekintése alapján mintaelemzéssel gyorsítható a szöveg- és képfelismerés, stb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sorFlow</a:t>
            </a: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Google gépi tanuló keretrendszere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övegek osztályozására, hasonlóságok kimutatására,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szterálásra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egyéb NLP folyamatok vizsgálatára szolgáló nyílt forráskódú szoftver, amely begyűjti az adatokat, oktató modellel rendelkezik, és támogatja a „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ep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eljárásokat.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exibilis architektúra, platformfüggetlen alkalmazás, Python és C++ programnyelvet használ, front-end API beállításával támogatja alkalmazások építését és integrációját.</a:t>
            </a:r>
          </a:p>
          <a:p>
            <a:pPr lvl="2" indent="0">
              <a:buNone/>
            </a:pPr>
            <a:r>
              <a:rPr lang="hu-HU" sz="12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lvl="2" indent="0">
              <a:buNone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 tekintik intelligens rendszernek azokat a számítógépes programokat, amelyek nem képesek az emberi gondolkodás legalább </a:t>
            </a:r>
            <a:r>
              <a:rPr lang="hu-HU" b="1" i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amely </a:t>
            </a: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mének szimulálására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97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02227" y="311342"/>
            <a:ext cx="7007485" cy="737282"/>
          </a:xfrm>
        </p:spPr>
        <p:txBody>
          <a:bodyPr/>
          <a:lstStyle/>
          <a:p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Open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source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Machine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link.springer.com/article/10.1007/s10462-018-09679-z</a:t>
            </a: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5" name="Tartalom helye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10258531"/>
              </p:ext>
            </p:extLst>
          </p:nvPr>
        </p:nvGraphicFramePr>
        <p:xfrm>
          <a:off x="233539" y="1277560"/>
          <a:ext cx="9641995" cy="61945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406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3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650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636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804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7203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9535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89547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750959"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ol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cence típus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ritten in</a:t>
                      </a:r>
                      <a:endParaRPr lang="hu-H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gorithm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verage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face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flow</a:t>
                      </a:r>
                      <a:endParaRPr lang="hu-H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épszerűség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ználó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jlesztők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3516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gun (ML library)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., GNU GPLv3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ave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R, Java/Scala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a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C#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by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etsch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nnenburg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7224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FOCUS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4895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Mineraa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L/NN/DL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mework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iness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va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, R, GUI, API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linkenber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I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erswa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. Fischer., et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9323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Miner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903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kabb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ML/DL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mework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. GNU GPLv3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va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va, GUI, API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versityof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ikato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New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ealand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7447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ikit-Learn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ML/NN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rary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ource, BSD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, C++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, API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rnapeau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3731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RIA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ogle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b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7224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SVM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ML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rary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., BSD 3-clause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/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+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 (only SVM)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, R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Lab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l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by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ka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sp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kell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aml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stb.…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.C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C.J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5343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iwan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.Univ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15656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Linear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ML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rary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., BSD 3-clause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/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+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ly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ear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tLab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ave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Java, Python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by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……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ial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.E.Fan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K.W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ng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C.J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sieh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X.R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ng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C.J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n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3621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iwan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.</a:t>
                      </a:r>
                      <a:r>
                        <a:rPr lang="hu-HU" sz="1100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baseline="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v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7224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wpal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bbit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ML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rary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. BSD 3-clause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,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wn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PI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rary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I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. Langford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95343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crosoft, previously Yahoo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73960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GBoost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ML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osting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semble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che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.0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, Java, Python, R, Julia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es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ial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.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n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3986" marR="43986" marT="29324" marB="29324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Aft>
                  <a:spcPct val="0"/>
                </a:spcAft>
              </a:pPr>
              <a:t>16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712" y="82406"/>
            <a:ext cx="2648717" cy="9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775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86544" y="222246"/>
            <a:ext cx="6932640" cy="768379"/>
          </a:xfrm>
        </p:spPr>
        <p:txBody>
          <a:bodyPr/>
          <a:lstStyle/>
          <a:p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Open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source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könyvtári Deep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link.springer.com/article/10.1007/s10462-018-09679-z</a:t>
            </a: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5" name="Tartalom helye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14691816"/>
              </p:ext>
            </p:extLst>
          </p:nvPr>
        </p:nvGraphicFramePr>
        <p:xfrm>
          <a:off x="214021" y="1014376"/>
          <a:ext cx="9761251" cy="669842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169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3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67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134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579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497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678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5571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16346"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ol</a:t>
                      </a:r>
                      <a:endParaRPr lang="hu-H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cence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ritten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utation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ph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face</a:t>
                      </a:r>
                      <a:endParaRPr lang="hu-HU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épszerűség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ználó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 fontAlgn="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or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hu-HU" sz="12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  <a:r>
                        <a:rPr lang="hu-HU" sz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99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sorFlow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erical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mework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che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.0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, Python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ic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ll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ort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ynamic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aph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, C++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a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vaaa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aa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y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wing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y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st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 Google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8488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ras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rary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ource, MI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ic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. Cholle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7779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rapper for TensorFlow, CNTK, DL4J, MXNet, Theano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wing very fas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99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NTK (Framework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ource, Microsoft permissive license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ic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, C++, BrainScript, ONNX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 Growing fas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 Limited mobile solution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 Microsof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38488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ffe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Framework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ource, BSD 2-clause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ic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, Python, MatLab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. Jia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346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wing fas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IR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20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ffe2 (Framework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ource, Apache 2.0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ic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, Python, ONNX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-low Growing fas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 Mobile solution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. Jia Facebook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2777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rch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Framework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ource, BSD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, Lua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ic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, C++, LuaJIT, Lua, OpenCL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–low Growing low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. Collobert, K. Kavukcuoglu, C. Farabe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20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orch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rary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source, BSD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, C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ynamic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, ONNX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 Growing very fas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. Paszke, S. Gross, S. Chintala, G. Chanan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8488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XNet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Framework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che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.0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ynamic dependency scheduler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++, Python, Julia, MatLab, Go, R, Scala, Perl, ONNX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 Growing fast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ache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8488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iner (Framework)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wners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missive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cense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ynamic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 Growing low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1433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ferred Networks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163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ano</a:t>
                      </a:r>
                      <a:endParaRPr lang="hu-HU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rce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BSD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ic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ython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-low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ademic Industrial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. Bengio</a:t>
                      </a:r>
                      <a:endParaRPr lang="hu-HU" sz="1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9420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erical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1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mework</a:t>
                      </a:r>
                      <a:r>
                        <a:rPr lang="hu-HU" sz="1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hu-HU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rowing</a:t>
                      </a: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hu-H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u-H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versity of Montreal</a:t>
                      </a:r>
                      <a:endParaRPr lang="hu-HU" sz="10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5472" marR="45472" marT="30315" marB="30315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7</a:t>
            </a:fld>
            <a:endParaRPr lang="en-US" dirty="0"/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6555" y="11875"/>
            <a:ext cx="2648717" cy="9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56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A tervezés és a kétségek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6613" y="886936"/>
            <a:ext cx="9360000" cy="4896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érendő eredmény meghatározása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put vagy end-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r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ldal tervezése, szakterület forrásai és tematikus meghatározása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ználói visszajelzések, szelekció és választás szimulátor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esztő csapat – könyvtáros, adattudós, adatmérnök és operációs rendszer mérnök együttműködése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pi tanulás modellje, amelynek minősége az emberi és gépi intelligencia együttes hatásában érvényesül (vannak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zoftverek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vezés, felkészülés, a hangolás és tesztelés folyamataib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rdések: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an tudja a rendszer megtanulni a komplex adatkezelést és az ismeretlen adatbázisok bevonásá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an lehet a még nem létező tudáselemek bevonását automatizáln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an bizonyosodunk meg a gépi tanulás helyes eredményeinek garanciáiról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an lehet a számítógép automatikus adat- és információ reprezentációja a legjobb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an szervezünk különböző algoritmusokat a tanult és nem tanult ismeretekkel kapcsolatba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an bizonyosodunk meg arról, hogy az eredmények érthetőek és elsajátíthatók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gyan tanítjuk meg a gépeket a gyors, rugalmas és könnyen értelmezhető válaszokra</a:t>
            </a:r>
          </a:p>
          <a:p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8</a:t>
            </a:fld>
            <a:endParaRPr lang="en-US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8765" y="173823"/>
            <a:ext cx="2271235" cy="828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222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294040"/>
            <a:ext cx="9585858" cy="827939"/>
          </a:xfrm>
        </p:spPr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Könyvtári mesterséges intelligencia területek – tudásreprezentáció alapokon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32536" y="1206826"/>
            <a:ext cx="4611756" cy="5445075"/>
          </a:xfrm>
          <a:solidFill>
            <a:schemeClr val="bg1"/>
          </a:solidFill>
          <a:ln>
            <a:noFill/>
          </a:ln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dásreprezentációk intézményi feladatokhoz</a:t>
            </a:r>
            <a:b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heterogén gyűjtemények kombinálása </a:t>
            </a:r>
            <a:b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adat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émák, ontológiák, szakértői szótárak integrációja a saját rendszerben és külső rendszerekből</a:t>
            </a:r>
            <a:b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szintaktikai és szemantikai struktúrák átvétele és tervezé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fogalmi- és szöveganalízis</a:t>
            </a:r>
          </a:p>
          <a:p>
            <a:pPr marL="342900" indent="-342900">
              <a:buFontTx/>
              <a:buChar char="-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onyítási és elemzési folyamatok szabályozása, tér- és időbeli összefüggések </a:t>
            </a:r>
          </a:p>
          <a:p>
            <a:pPr marL="342900" indent="-342900">
              <a:buFontTx/>
              <a:buChar char="-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s interfészek beépítése a tudásreprezentációs eszközök kommunikációjához</a:t>
            </a:r>
          </a:p>
          <a:p>
            <a:pPr marL="342900" indent="-342900">
              <a:buFontTx/>
              <a:buChar char="-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mmunikációs folyamat tervezése</a:t>
            </a:r>
            <a:b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19</a:t>
            </a:fld>
            <a:endParaRPr lang="en-US" dirty="0"/>
          </a:p>
        </p:txBody>
      </p:sp>
      <p:pic>
        <p:nvPicPr>
          <p:cNvPr id="7" name="Picture 2" descr="http://personal.sirma.bg/vladimir/crm-tutorial/slide12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2641" y="1098230"/>
            <a:ext cx="4239851" cy="2873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zövegdoboz 5"/>
          <p:cNvSpPr txBox="1"/>
          <p:nvPr/>
        </p:nvSpPr>
        <p:spPr>
          <a:xfrm>
            <a:off x="5227330" y="4362978"/>
            <a:ext cx="4499283" cy="2288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Tx/>
              <a:buChar char="-"/>
            </a:pP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zonalizáció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indent="-342900">
              <a:buFontTx/>
              <a:buChar char="-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mantikai és audiovizuális eszközök integrációja</a:t>
            </a:r>
          </a:p>
          <a:p>
            <a:pPr marL="342900" indent="-342900">
              <a:buFontTx/>
              <a:buChar char="-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kus annotációk</a:t>
            </a:r>
          </a:p>
          <a:p>
            <a:pPr marL="342900" indent="-342900">
              <a:buFontTx/>
              <a:buChar char="-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tológia kiterjesztések</a:t>
            </a:r>
          </a:p>
          <a:p>
            <a:pPr marL="342900" indent="-342900">
              <a:buFontTx/>
              <a:buChar char="-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észetes nyelvi megoldások, stb. (IEEE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t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ystems, 16.)</a:t>
            </a:r>
            <a:b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1800" dirty="0">
              <a:solidFill>
                <a:srgbClr val="1E3770"/>
              </a:solidFill>
              <a:ea typeface="Swagger" pitchFamily="2" charset="0"/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5442641" y="3929363"/>
            <a:ext cx="5038725" cy="34406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hu-HU" sz="16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://personal.sirma.bg/vladimir/crm-tutorial/</a:t>
            </a:r>
            <a:r>
              <a:rPr lang="hu-HU" sz="16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hu-HU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5227330" y="6402485"/>
            <a:ext cx="4718528" cy="629394"/>
          </a:xfrm>
          <a:prstGeom prst="rect">
            <a:avLst/>
          </a:prstGeom>
          <a:solidFill>
            <a:srgbClr val="1E3770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 KISZOLGÁLT SZAKTERÜLET TUDÁSBÁZISAI, SZAKÉRTŐ RENDSZEREI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6639339" y="2385391"/>
            <a:ext cx="1510748" cy="925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err="1">
                <a:solidFill>
                  <a:srgbClr val="1E3770"/>
                </a:solidFill>
                <a:ea typeface="Swagger" pitchFamily="2" charset="0"/>
              </a:rPr>
              <a:t>Conceptual</a:t>
            </a:r>
            <a:r>
              <a:rPr lang="hu-HU" sz="1800" dirty="0">
                <a:solidFill>
                  <a:srgbClr val="1E3770"/>
                </a:solidFill>
                <a:ea typeface="Swagger" pitchFamily="2" charset="0"/>
              </a:rPr>
              <a:t> </a:t>
            </a:r>
            <a:r>
              <a:rPr lang="hu-HU" sz="1800" dirty="0" err="1">
                <a:solidFill>
                  <a:srgbClr val="1E3770"/>
                </a:solidFill>
                <a:ea typeface="Swagger" pitchFamily="2" charset="0"/>
              </a:rPr>
              <a:t>reference</a:t>
            </a:r>
            <a:r>
              <a:rPr lang="hu-HU" sz="1800" dirty="0">
                <a:solidFill>
                  <a:srgbClr val="1E3770"/>
                </a:solidFill>
                <a:ea typeface="Swagger" pitchFamily="2" charset="0"/>
              </a:rPr>
              <a:t> </a:t>
            </a:r>
            <a:r>
              <a:rPr lang="hu-HU" sz="1800" dirty="0" err="1">
                <a:solidFill>
                  <a:srgbClr val="1E3770"/>
                </a:solidFill>
                <a:ea typeface="Swagger" pitchFamily="2" charset="0"/>
              </a:rPr>
              <a:t>model</a:t>
            </a:r>
            <a:endParaRPr lang="hu-HU" sz="1800" dirty="0">
              <a:solidFill>
                <a:srgbClr val="1E3770"/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57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Aft>
                  <a:spcPct val="0"/>
                </a:spcAft>
              </a:pPr>
              <a:t>2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3674066" y="4948362"/>
            <a:ext cx="2857500" cy="34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Hálózatba kapcsolt világ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38416" y="163350"/>
            <a:ext cx="9860918" cy="490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800" dirty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örnyezetünk intelligens rendszereinek konvergenciája</a:t>
            </a:r>
          </a:p>
        </p:txBody>
      </p:sp>
      <p:pic>
        <p:nvPicPr>
          <p:cNvPr id="6" name="Kép 5" descr="Kapcsolódó kép">
            <a:hlinkClick r:id="rId3"/>
          </p:cNvPr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6" y="1607416"/>
            <a:ext cx="3787351" cy="1970369"/>
          </a:xfrm>
          <a:prstGeom prst="rect">
            <a:avLst/>
          </a:prstGeom>
          <a:solidFill>
            <a:schemeClr val="tx2"/>
          </a:solidFill>
          <a:ln>
            <a:noFill/>
          </a:ln>
        </p:spPr>
      </p:pic>
      <p:sp>
        <p:nvSpPr>
          <p:cNvPr id="7" name="Szövegdoboz 6"/>
          <p:cNvSpPr txBox="1"/>
          <p:nvPr/>
        </p:nvSpPr>
        <p:spPr>
          <a:xfrm>
            <a:off x="17033" y="897640"/>
            <a:ext cx="4851849" cy="6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„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mart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” – intelligens könyvtár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mart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campus – intelligens rendszerek</a:t>
            </a:r>
          </a:p>
        </p:txBody>
      </p:sp>
      <p:pic>
        <p:nvPicPr>
          <p:cNvPr id="8" name="Kép 7" descr="10 Important Predictions for the Future of IoT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8072" y="1569549"/>
            <a:ext cx="4205330" cy="196363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zövegdoboz 8"/>
          <p:cNvSpPr txBox="1"/>
          <p:nvPr/>
        </p:nvSpPr>
        <p:spPr>
          <a:xfrm>
            <a:off x="5670022" y="936112"/>
            <a:ext cx="4491918" cy="629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mart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city – intelligens városirányítás és betegellátás </a:t>
            </a: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(T…)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94" y="5289665"/>
            <a:ext cx="3465770" cy="1578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Csoportba foglalás 24"/>
          <p:cNvGrpSpPr/>
          <p:nvPr/>
        </p:nvGrpSpPr>
        <p:grpSpPr>
          <a:xfrm>
            <a:off x="6687718" y="5340057"/>
            <a:ext cx="3392907" cy="1832586"/>
            <a:chOff x="7303" y="1263613"/>
            <a:chExt cx="6726131" cy="4690490"/>
          </a:xfrm>
        </p:grpSpPr>
        <p:pic>
          <p:nvPicPr>
            <p:cNvPr id="14" name="Kép 1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03" y="1263613"/>
              <a:ext cx="6726131" cy="4690490"/>
            </a:xfrm>
            <a:prstGeom prst="rect">
              <a:avLst/>
            </a:prstGeom>
          </p:spPr>
        </p:pic>
        <p:grpSp>
          <p:nvGrpSpPr>
            <p:cNvPr id="15" name="Group 5"/>
            <p:cNvGrpSpPr/>
            <p:nvPr/>
          </p:nvGrpSpPr>
          <p:grpSpPr>
            <a:xfrm>
              <a:off x="2076828" y="2081713"/>
              <a:ext cx="3068386" cy="3611138"/>
              <a:chOff x="1917076" y="2086741"/>
              <a:chExt cx="3068386" cy="3611138"/>
            </a:xfrm>
          </p:grpSpPr>
          <p:pic>
            <p:nvPicPr>
              <p:cNvPr id="16" name="Picture 6"/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12675" y="4406843"/>
                <a:ext cx="1291036" cy="1291036"/>
              </a:xfrm>
              <a:prstGeom prst="rect">
                <a:avLst/>
              </a:prstGeom>
            </p:spPr>
          </p:pic>
          <p:sp>
            <p:nvSpPr>
              <p:cNvPr id="17" name="Down Arrow 7"/>
              <p:cNvSpPr/>
              <p:nvPr/>
            </p:nvSpPr>
            <p:spPr>
              <a:xfrm>
                <a:off x="3268389" y="3358376"/>
                <a:ext cx="365760" cy="1142504"/>
              </a:xfrm>
              <a:prstGeom prst="downArrow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Oval 8"/>
              <p:cNvSpPr/>
              <p:nvPr/>
            </p:nvSpPr>
            <p:spPr>
              <a:xfrm>
                <a:off x="3268389" y="3190240"/>
                <a:ext cx="365760" cy="365760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hu-HU" dirty="0" err="1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19" name="Straight Arrow Connector 9"/>
              <p:cNvCxnSpPr>
                <a:endCxn id="18" idx="7"/>
              </p:cNvCxnSpPr>
              <p:nvPr/>
            </p:nvCxnSpPr>
            <p:spPr>
              <a:xfrm flipH="1">
                <a:off x="3580585" y="2695975"/>
                <a:ext cx="652760" cy="547829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Arrow Connector 10"/>
              <p:cNvCxnSpPr>
                <a:endCxn id="18" idx="6"/>
              </p:cNvCxnSpPr>
              <p:nvPr/>
            </p:nvCxnSpPr>
            <p:spPr>
              <a:xfrm flipH="1">
                <a:off x="3634149" y="3358376"/>
                <a:ext cx="939125" cy="14744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Arrow Connector 11"/>
              <p:cNvCxnSpPr>
                <a:endCxn id="18" idx="2"/>
              </p:cNvCxnSpPr>
              <p:nvPr/>
            </p:nvCxnSpPr>
            <p:spPr>
              <a:xfrm>
                <a:off x="2282471" y="3373120"/>
                <a:ext cx="985918" cy="0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Arrow Connector 12"/>
              <p:cNvCxnSpPr>
                <a:endCxn id="18" idx="0"/>
              </p:cNvCxnSpPr>
              <p:nvPr/>
            </p:nvCxnSpPr>
            <p:spPr>
              <a:xfrm>
                <a:off x="3449753" y="2421765"/>
                <a:ext cx="1516" cy="768475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Arrow Connector 13"/>
              <p:cNvCxnSpPr>
                <a:endCxn id="18" idx="1"/>
              </p:cNvCxnSpPr>
              <p:nvPr/>
            </p:nvCxnSpPr>
            <p:spPr>
              <a:xfrm>
                <a:off x="2750004" y="2818510"/>
                <a:ext cx="571949" cy="425294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Arrow Connector 14"/>
              <p:cNvCxnSpPr>
                <a:endCxn id="18" idx="5"/>
              </p:cNvCxnSpPr>
              <p:nvPr/>
            </p:nvCxnSpPr>
            <p:spPr>
              <a:xfrm flipH="1" flipV="1">
                <a:off x="3580585" y="3502436"/>
                <a:ext cx="571949" cy="421936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Arrow Connector 15"/>
              <p:cNvCxnSpPr>
                <a:endCxn id="18" idx="3"/>
              </p:cNvCxnSpPr>
              <p:nvPr/>
            </p:nvCxnSpPr>
            <p:spPr>
              <a:xfrm flipV="1">
                <a:off x="2759276" y="3502436"/>
                <a:ext cx="562677" cy="421936"/>
              </a:xfrm>
              <a:prstGeom prst="straightConnector1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tailEnd type="triangle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6" name="Picture 16"/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52170" y="2407312"/>
                <a:ext cx="634043" cy="634043"/>
              </a:xfrm>
              <a:prstGeom prst="rect">
                <a:avLst/>
              </a:prstGeom>
            </p:spPr>
          </p:pic>
          <p:pic>
            <p:nvPicPr>
              <p:cNvPr id="27" name="Picture 17"/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351419" y="3040172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28" name="Picture 18"/>
              <p:cNvPicPr>
                <a:picLocks noChangeAspect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34247" y="2086741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29" name="Picture 19"/>
              <p:cNvPicPr>
                <a:picLocks noChangeAspect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18117" y="3675398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30" name="Picture 20"/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16324" y="2403171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31" name="Picture 21"/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52170" y="3675398"/>
                <a:ext cx="634043" cy="636409"/>
              </a:xfrm>
              <a:prstGeom prst="rect">
                <a:avLst/>
              </a:prstGeom>
            </p:spPr>
          </p:pic>
          <p:pic>
            <p:nvPicPr>
              <p:cNvPr id="32" name="Picture 22"/>
              <p:cNvPicPr>
                <a:picLocks noChangeAspect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917076" y="3041355"/>
                <a:ext cx="634043" cy="634043"/>
              </a:xfrm>
              <a:prstGeom prst="rect">
                <a:avLst/>
              </a:prstGeom>
            </p:spPr>
          </p:pic>
        </p:grpSp>
      </p:grpSp>
      <p:sp>
        <p:nvSpPr>
          <p:cNvPr id="33" name="Ellipszis 32"/>
          <p:cNvSpPr/>
          <p:nvPr/>
        </p:nvSpPr>
        <p:spPr bwMode="gray">
          <a:xfrm>
            <a:off x="3619377" y="3488243"/>
            <a:ext cx="2724648" cy="1397339"/>
          </a:xfrm>
          <a:prstGeom prst="ellipse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lózati univerzum</a:t>
            </a:r>
          </a:p>
        </p:txBody>
      </p:sp>
      <p:sp>
        <p:nvSpPr>
          <p:cNvPr id="34" name="Szövegdoboz 33"/>
          <p:cNvSpPr txBox="1"/>
          <p:nvPr/>
        </p:nvSpPr>
        <p:spPr>
          <a:xfrm>
            <a:off x="17033" y="3818809"/>
            <a:ext cx="3712325" cy="629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lligens technológiák, ipar, termelés, közlekedésirányítás</a:t>
            </a:r>
          </a:p>
        </p:txBody>
      </p:sp>
      <p:sp>
        <p:nvSpPr>
          <p:cNvPr id="35" name="Szövegdoboz 34"/>
          <p:cNvSpPr txBox="1"/>
          <p:nvPr/>
        </p:nvSpPr>
        <p:spPr>
          <a:xfrm>
            <a:off x="38416" y="4699748"/>
            <a:ext cx="3049168" cy="629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>
                <a:solidFill>
                  <a:schemeClr val="accent4">
                    <a:lumMod val="50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Energiahatékonyság, fenntartható fejlődés</a:t>
            </a:r>
          </a:p>
        </p:txBody>
      </p:sp>
      <p:sp>
        <p:nvSpPr>
          <p:cNvPr id="3" name="Szövegdoboz 2"/>
          <p:cNvSpPr txBox="1"/>
          <p:nvPr/>
        </p:nvSpPr>
        <p:spPr>
          <a:xfrm>
            <a:off x="6769010" y="3764982"/>
            <a:ext cx="3194392" cy="1205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özös és cserélhető adatok adattárházai, publikus, osztott portálok, mobil,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oT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, szenzorok</a:t>
            </a:r>
          </a:p>
        </p:txBody>
      </p:sp>
      <p:pic>
        <p:nvPicPr>
          <p:cNvPr id="11" name="Kép 10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4066" y="5352443"/>
            <a:ext cx="2857500" cy="196682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36" name="Szövegdoboz 35"/>
          <p:cNvSpPr txBox="1"/>
          <p:nvPr/>
        </p:nvSpPr>
        <p:spPr>
          <a:xfrm>
            <a:off x="3674067" y="6939771"/>
            <a:ext cx="2924466" cy="34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>
                <a:solidFill>
                  <a:srgbClr val="E20074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rnet of </a:t>
            </a:r>
            <a:r>
              <a:rPr lang="hu-HU" sz="1800" b="1" dirty="0" err="1">
                <a:solidFill>
                  <a:srgbClr val="E20074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things</a:t>
            </a:r>
            <a:endParaRPr lang="hu-HU" sz="1800" b="1" dirty="0">
              <a:solidFill>
                <a:srgbClr val="E20074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571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0</a:t>
            </a:fld>
            <a:endParaRPr lang="en-US" dirty="0"/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571668" y="376098"/>
            <a:ext cx="8904934" cy="2092295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hu-HU" sz="4400" b="1" dirty="0">
                <a:latin typeface="Arial" panose="020B0604020202020204" pitchFamily="34" charset="0"/>
                <a:cs typeface="Arial" panose="020B0604020202020204" pitchFamily="34" charset="0"/>
              </a:rPr>
              <a:t>Tudáselérés problémák</a:t>
            </a:r>
            <a:r>
              <a:rPr lang="hu-HU" sz="48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4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  <a:t>az áttekintés emberi lehetőségéhez képest </a:t>
            </a:r>
            <a:b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  <a:t>túlméretezettek a források</a:t>
            </a:r>
            <a:b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  <a:t>Géppel értelmezhető szemantikus adatkapcsolatok</a:t>
            </a:r>
          </a:p>
        </p:txBody>
      </p:sp>
      <p:sp>
        <p:nvSpPr>
          <p:cNvPr id="4" name="Szövegdoboz 3"/>
          <p:cNvSpPr txBox="1"/>
          <p:nvPr/>
        </p:nvSpPr>
        <p:spPr>
          <a:xfrm>
            <a:off x="219504" y="4600200"/>
            <a:ext cx="4338805" cy="840862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s gépek programozása</a:t>
            </a:r>
          </a:p>
        </p:txBody>
      </p:sp>
      <p:sp>
        <p:nvSpPr>
          <p:cNvPr id="6" name="Cím 2"/>
          <p:cNvSpPr txBox="1">
            <a:spLocks/>
          </p:cNvSpPr>
          <p:nvPr/>
        </p:nvSpPr>
        <p:spPr bwMode="invGray">
          <a:xfrm>
            <a:off x="243933" y="2649595"/>
            <a:ext cx="9556199" cy="130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5400" kern="120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71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342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51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68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hu-HU" sz="4400" b="1" dirty="0">
                <a:latin typeface="Arial" panose="020B0604020202020204" pitchFamily="34" charset="0"/>
                <a:cs typeface="Arial" panose="020B0604020202020204" pitchFamily="34" charset="0"/>
              </a:rPr>
              <a:t>Mesterséges intelligencia válaszok </a:t>
            </a:r>
            <a: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  <a:t>Tudományos és mérnöki fejlődés</a:t>
            </a:r>
          </a:p>
          <a:p>
            <a:pPr algn="ctr">
              <a:lnSpc>
                <a:spcPct val="100000"/>
              </a:lnSpc>
            </a:pPr>
            <a: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  <a:t>Negyedik ipari forradalom</a:t>
            </a:r>
          </a:p>
        </p:txBody>
      </p:sp>
      <p:sp>
        <p:nvSpPr>
          <p:cNvPr id="8" name="Jobbra nyíl 7"/>
          <p:cNvSpPr/>
          <p:nvPr/>
        </p:nvSpPr>
        <p:spPr bwMode="gray">
          <a:xfrm>
            <a:off x="4629924" y="4499638"/>
            <a:ext cx="792126" cy="1041985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5461327" y="4626168"/>
            <a:ext cx="4338805" cy="81489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ri intelligencia szimulálása</a:t>
            </a:r>
          </a:p>
        </p:txBody>
      </p:sp>
      <p:sp>
        <p:nvSpPr>
          <p:cNvPr id="10" name="Felhő 9"/>
          <p:cNvSpPr/>
          <p:nvPr/>
        </p:nvSpPr>
        <p:spPr bwMode="gray">
          <a:xfrm>
            <a:off x="219504" y="5853015"/>
            <a:ext cx="3029607" cy="1175335"/>
          </a:xfrm>
          <a:prstGeom prst="cloudCallou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mobile-</a:t>
            </a: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</a:t>
            </a:r>
            <a:endParaRPr lang="hu-HU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elhő 10"/>
          <p:cNvSpPr/>
          <p:nvPr/>
        </p:nvSpPr>
        <p:spPr bwMode="gray">
          <a:xfrm>
            <a:off x="6575065" y="5688237"/>
            <a:ext cx="3200639" cy="1512663"/>
          </a:xfrm>
          <a:prstGeom prst="cloudCallou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AI-</a:t>
            </a: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</a:t>
            </a:r>
            <a:r>
              <a:rPr lang="hu-HU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”</a:t>
            </a:r>
          </a:p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ndar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chai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Kép 11"/>
          <p:cNvPicPr/>
          <p:nvPr/>
        </p:nvPicPr>
        <p:blipFill rotWithShape="1">
          <a:blip r:embed="rId3"/>
          <a:srcRect l="6373" t="27247" r="44444" b="22666"/>
          <a:stretch/>
        </p:blipFill>
        <p:spPr bwMode="auto">
          <a:xfrm>
            <a:off x="3583825" y="5688237"/>
            <a:ext cx="2832100" cy="162115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85339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1</a:t>
            </a:fld>
            <a:endParaRPr lang="en-US" dirty="0"/>
          </a:p>
        </p:txBody>
      </p:sp>
      <p:pic>
        <p:nvPicPr>
          <p:cNvPr id="4" name="Picture 3" descr="Screen Shot 2015-10-01 at 9.25.57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4007" y="1133361"/>
            <a:ext cx="3165392" cy="1534931"/>
          </a:xfrm>
          <a:prstGeom prst="rect">
            <a:avLst/>
          </a:prstGeom>
        </p:spPr>
      </p:pic>
      <p:sp>
        <p:nvSpPr>
          <p:cNvPr id="5" name="Téglalap 4"/>
          <p:cNvSpPr/>
          <p:nvPr/>
        </p:nvSpPr>
        <p:spPr>
          <a:xfrm>
            <a:off x="6674007" y="2632452"/>
            <a:ext cx="34815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coming Data Native</a:t>
            </a:r>
            <a:r>
              <a:rPr lang="hu-HU" sz="14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ic Miller</a:t>
            </a:r>
            <a:endParaRPr lang="hu-HU" dirty="0">
              <a:solidFill>
                <a:srgbClr val="1E3770"/>
              </a:solidFill>
            </a:endParaRPr>
          </a:p>
        </p:txBody>
      </p:sp>
      <p:sp>
        <p:nvSpPr>
          <p:cNvPr id="6" name="Cím 1"/>
          <p:cNvSpPr txBox="1">
            <a:spLocks/>
          </p:cNvSpPr>
          <p:nvPr/>
        </p:nvSpPr>
        <p:spPr>
          <a:xfrm>
            <a:off x="195848" y="174271"/>
            <a:ext cx="9364663" cy="1184487"/>
          </a:xfrm>
          <a:prstGeom prst="rect">
            <a:avLst/>
          </a:prstGeom>
        </p:spPr>
        <p:txBody>
          <a:bodyPr/>
          <a:lstStyle>
            <a:lvl1pPr marL="0" indent="0" algn="l" defTabSz="45732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2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71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342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51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68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A mély rétegek</a:t>
            </a:r>
          </a:p>
          <a:p>
            <a:r>
              <a:rPr lang="hu-HU" sz="2400" b="1" dirty="0">
                <a:latin typeface="Arial" panose="020B0604020202020204" pitchFamily="34" charset="0"/>
                <a:cs typeface="Arial" panose="020B0604020202020204" pitchFamily="34" charset="0"/>
              </a:rPr>
              <a:t>meta-kereséstől a szemantikai hálókon át a mesterséges intelligenciáig</a:t>
            </a:r>
            <a:endParaRPr lang="hu-H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302726" y="2780464"/>
            <a:ext cx="5748000" cy="1734697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RDF 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pú szemantikai struktúrákban URI azonosítókkal ellátott adatokat kereshetünk a weben, a gépi értelmezés és automatikus keresés támogatásával. Az RDF elemek a keresést korlátlan adatkapcsolatokkal terjeszthetik ki.</a:t>
            </a:r>
          </a:p>
        </p:txBody>
      </p:sp>
      <p:sp>
        <p:nvSpPr>
          <p:cNvPr id="11" name="Szövegdoboz 10"/>
          <p:cNvSpPr txBox="1"/>
          <p:nvPr/>
        </p:nvSpPr>
        <p:spPr>
          <a:xfrm>
            <a:off x="302726" y="4766625"/>
            <a:ext cx="5748000" cy="2011695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esterséges intelligencia 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almazásával gépi programozással szimuláljuk az emberi intelligenciát az információk kereséséhez és szolgáltatásához,  szabad szöveges kérdések és válaszok formájában is, a gépi szövegfelismerés és szöveg-értelmezés, fordítás, stb. lehetőségével.</a:t>
            </a:r>
          </a:p>
        </p:txBody>
      </p:sp>
      <p:sp>
        <p:nvSpPr>
          <p:cNvPr id="12" name="Szövegdoboz 11"/>
          <p:cNvSpPr txBox="1"/>
          <p:nvPr/>
        </p:nvSpPr>
        <p:spPr>
          <a:xfrm>
            <a:off x="302726" y="1625300"/>
            <a:ext cx="5754378" cy="9037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TML 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kumentumokban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ott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elemek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teljes weboldalról vagy dokumentumról adnak kereshető információt </a:t>
            </a:r>
          </a:p>
        </p:txBody>
      </p:sp>
      <p:pic>
        <p:nvPicPr>
          <p:cNvPr id="16" name="Kép 15"/>
          <p:cNvPicPr/>
          <p:nvPr/>
        </p:nvPicPr>
        <p:blipFill rotWithShape="1">
          <a:blip r:embed="rId3"/>
          <a:srcRect l="16627" t="27202" r="53885" b="11246"/>
          <a:stretch/>
        </p:blipFill>
        <p:spPr bwMode="auto">
          <a:xfrm>
            <a:off x="8464916" y="5294521"/>
            <a:ext cx="1520341" cy="170454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7" name="Szövegdoboz 16"/>
          <p:cNvSpPr txBox="1"/>
          <p:nvPr/>
        </p:nvSpPr>
        <p:spPr>
          <a:xfrm>
            <a:off x="6587902" y="5294521"/>
            <a:ext cx="1877014" cy="19652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4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Talked To Sophia — The AI Robot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400" i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s://www.youtube.com/watch?v=78-1MlkxyqI</a:t>
            </a:r>
            <a:r>
              <a:rPr lang="hu-HU" sz="1400" i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u-HU" sz="14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4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4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pic>
        <p:nvPicPr>
          <p:cNvPr id="13" name="Kép 12" descr="https://svn.bmj.com/content/svnbmj/2/4/230/F9.large.jpg?width=800&amp;height=600&amp;carousel=1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4007" y="3127459"/>
            <a:ext cx="3165392" cy="182453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546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174272"/>
            <a:ext cx="7442088" cy="897878"/>
          </a:xfrm>
        </p:spPr>
        <p:txBody>
          <a:bodyPr/>
          <a:lstStyle/>
          <a:p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Szemantikus keresők és szabad szöveges gépi kérdések és válaszok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276253" y="1118022"/>
            <a:ext cx="9334070" cy="488299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tömegű digitális adatokból  könnyebb mintavétel és kategorizálás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ták felismerése, szövegértelmezés, szövegelemzés,  szöveges,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ó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és képi keresés fejlődése (orvoslás, művészet, hadiipar, sejtbiológia, stb. Coleman, 29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nagy digitális meta adattárak és fogalomtárak alapján eredményesebb a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dásgráfok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kapcsolati hálórendszerek kiépíté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mantikai keresők fejlődé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ejlesztések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könyvtári elméleti és szakmai központokkal (OCLC, LC, stb.) 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2-ben a Google megvásárolja a Freeweb tudásbázist 12 millió bejegyzéssel, (ekkor a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pédia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,5 milliót tartalmaz); 2016-ban már 400 millió bejegyzés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értők bevonásával előkészítés és tesztelé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3C szabványosítás, elméleti alapok, kutatás, együttműködés könyvtárosokkal a  szemantikus meta-adat kezelés és fogalmi elemzés terén (RDF, SKOS, stb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lcsszavas keresés szemantikai alapú fogalmi elemzéssel, automatizálással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2</a:t>
            </a:fld>
            <a:endParaRPr lang="en-US" dirty="0"/>
          </a:p>
        </p:txBody>
      </p:sp>
      <p:sp>
        <p:nvSpPr>
          <p:cNvPr id="5" name="Téglalap 4"/>
          <p:cNvSpPr/>
          <p:nvPr/>
        </p:nvSpPr>
        <p:spPr>
          <a:xfrm>
            <a:off x="276253" y="6076060"/>
            <a:ext cx="9450360" cy="65659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 fontAlgn="ctr">
              <a:lnSpc>
                <a:spcPts val="2200"/>
              </a:lnSpc>
              <a:spcBef>
                <a:spcPts val="600"/>
              </a:spcBef>
              <a:spcAft>
                <a:spcPts val="0"/>
              </a:spcAft>
            </a:pP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élda: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NLI: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tology-based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uage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ace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An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tology-based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rying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Bpedia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ural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guage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digm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(B.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jatha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70.)</a:t>
            </a:r>
          </a:p>
        </p:txBody>
      </p:sp>
      <p:pic>
        <p:nvPicPr>
          <p:cNvPr id="6" name="Picture 9" descr="textwisw-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2836" y="2931872"/>
            <a:ext cx="1466850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 descr="hakia_logo_lar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190" y="2822389"/>
            <a:ext cx="97631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wolframalph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434" y="2993784"/>
            <a:ext cx="15240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genealogical_tre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9150" y="74103"/>
            <a:ext cx="1593978" cy="1244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advise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3328" y="2993784"/>
            <a:ext cx="1173838" cy="7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 descr="advise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5677" y="2662335"/>
            <a:ext cx="1130024" cy="379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AutoShape 2" descr="Képtalálat a következőre: „Bing”"/>
          <p:cNvSpPr>
            <a:spLocks noChangeAspect="1" noChangeArrowheads="1"/>
          </p:cNvSpPr>
          <p:nvPr/>
        </p:nvSpPr>
        <p:spPr bwMode="auto">
          <a:xfrm>
            <a:off x="27195" y="-331787"/>
            <a:ext cx="1800225" cy="800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8744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23045" y="186206"/>
            <a:ext cx="9542850" cy="668818"/>
          </a:xfrm>
        </p:spPr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A robotok már a könyvtárban vannak…. 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3</a:t>
            </a:fld>
            <a:endParaRPr lang="en-US" dirty="0"/>
          </a:p>
        </p:txBody>
      </p:sp>
      <p:sp>
        <p:nvSpPr>
          <p:cNvPr id="7" name="Tartalom helye 6"/>
          <p:cNvSpPr>
            <a:spLocks noGrp="1"/>
          </p:cNvSpPr>
          <p:nvPr>
            <p:ph idx="1"/>
          </p:nvPr>
        </p:nvSpPr>
        <p:spPr>
          <a:xfrm>
            <a:off x="323045" y="955434"/>
            <a:ext cx="9084121" cy="5200577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obot 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zált feladatokat végez akár közvetlen emberi felügyelet, akár előre meghatározott program vagy általános iránymutatások alapján, mesterséges intelligencia technikák beépítésével </a:t>
            </a:r>
          </a:p>
          <a:p>
            <a:pPr marL="558900" lvl="2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. kérdés-válasz interakciók, zene lejátszás, listakészítés, „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funkciók,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-time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formációk (események, marketing, közérdekű információk pl. nyitva tartás, stb.)</a:t>
            </a:r>
          </a:p>
          <a:p>
            <a:pPr marL="558900" lvl="2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esztett vagy beépített természetes nyelvi folyamatok, információkeresésre alkalmas tudás reprezentációk, gépi tanulás technikája, stb. </a:t>
            </a:r>
          </a:p>
          <a:p>
            <a:pPr marL="558900" lvl="2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pes hasonlóan viselkedni, mint egy természetes intelligenciával rendelkező élőlény</a:t>
            </a:r>
          </a:p>
          <a:p>
            <a:pPr marL="558900" lvl="2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elkedések vagy jellemek és egyéb jellemzők mögötti mechanizmus vagy program</a:t>
            </a:r>
          </a:p>
          <a:p>
            <a:pPr marL="558900" lvl="2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ációk, következtetések, utasítások, cselekvések képessége 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://computersinlibaries.infotoday.com/2017/Thursday.aspx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558900" lvl="2" indent="-342900">
              <a:lnSpc>
                <a:spcPct val="10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XA, SIRI,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phia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BM Watson,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eo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iki,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tb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rlátlan és gyors memória, a hatékony mintafelismerés, 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3" tooltip="Számítógépes játék"/>
              </a:rPr>
              <a:t>számítógépes játékok</a:t>
            </a:r>
            <a:endParaRPr lang="hu-HU" sz="16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2" indent="-285750">
              <a:lnSpc>
                <a:spcPct val="100000"/>
              </a:lnSpc>
              <a:spcAft>
                <a:spcPts val="600"/>
              </a:spcAft>
              <a:buFontTx/>
              <a:buChar char="-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elkedését célszerűen változtatja (tanulás, helyzetek)</a:t>
            </a:r>
          </a:p>
          <a:p>
            <a:pPr marL="501750" lvl="2" indent="-285750">
              <a:lnSpc>
                <a:spcPct val="100000"/>
              </a:lnSpc>
              <a:spcAft>
                <a:spcPts val="600"/>
              </a:spcAft>
              <a:buFontTx/>
              <a:buChar char="-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FID és szenzorok alapján működő intelligens rendszerek, intelligens közlekedés, orvoslás, mobil eszközökre épített perszonális egészségügyi szolgáltatások</a:t>
            </a:r>
          </a:p>
          <a:p>
            <a:pPr marL="501750" lvl="2" indent="-285750">
              <a:lnSpc>
                <a:spcPct val="100000"/>
              </a:lnSpc>
              <a:spcAft>
                <a:spcPts val="600"/>
              </a:spcAft>
              <a:buFontTx/>
              <a:buChar char="-"/>
            </a:pP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okos város programok</a:t>
            </a:r>
          </a:p>
        </p:txBody>
      </p:sp>
      <p:pic>
        <p:nvPicPr>
          <p:cNvPr id="6" name="Tartalom hely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294103" y="6044554"/>
            <a:ext cx="2011984" cy="1364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Kép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9249" y="3781354"/>
            <a:ext cx="1617364" cy="1146218"/>
          </a:xfrm>
          <a:prstGeom prst="rect">
            <a:avLst/>
          </a:prstGeom>
        </p:spPr>
      </p:pic>
      <p:pic>
        <p:nvPicPr>
          <p:cNvPr id="9" name="Kép 8" descr="10 Important Predictions for the Future of IoT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7867" y="6044554"/>
            <a:ext cx="2685157" cy="13646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634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06889" y="259744"/>
            <a:ext cx="9360000" cy="588082"/>
          </a:xfrm>
        </p:spPr>
        <p:txBody>
          <a:bodyPr/>
          <a:lstStyle/>
          <a:p>
            <a:r>
              <a:rPr lang="hu-HU" sz="28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érdés-válasz rendszerek automatizálása és IBM Watson</a:t>
            </a:r>
            <a:endParaRPr lang="hu-H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ia számának helye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4</a:t>
            </a:fld>
            <a:endParaRPr lang="en-US" dirty="0"/>
          </a:p>
        </p:txBody>
      </p:sp>
      <p:pic>
        <p:nvPicPr>
          <p:cNvPr id="4" name="Kép 3" descr="https://www.tankonyvtar.hu/hu/tartalom/tamop425/0046_alkalmazott_mesterseges_intelligencia/images/watson_valaszrendszer_felepitese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8285" y="1369417"/>
            <a:ext cx="4901114" cy="3370542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églalap 4"/>
          <p:cNvSpPr/>
          <p:nvPr/>
        </p:nvSpPr>
        <p:spPr>
          <a:xfrm>
            <a:off x="6431167" y="4166138"/>
            <a:ext cx="18155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</a:pPr>
            <a:r>
              <a:rPr lang="hu-HU" sz="1600" dirty="0">
                <a:solidFill>
                  <a:srgbClr val="1E377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Dudás László )</a:t>
            </a:r>
            <a:endParaRPr lang="hu-HU" sz="1600" dirty="0">
              <a:solidFill>
                <a:srgbClr val="1E377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5671" y="1816470"/>
            <a:ext cx="1424953" cy="1009857"/>
          </a:xfrm>
          <a:prstGeom prst="rect">
            <a:avLst/>
          </a:prstGeom>
        </p:spPr>
      </p:pic>
      <p:pic>
        <p:nvPicPr>
          <p:cNvPr id="7" name="Kép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35777"/>
            <a:ext cx="4856048" cy="2530361"/>
          </a:xfrm>
          <a:prstGeom prst="rect">
            <a:avLst/>
          </a:prstGeom>
          <a:ln>
            <a:noFill/>
          </a:ln>
        </p:spPr>
      </p:pic>
      <p:sp>
        <p:nvSpPr>
          <p:cNvPr id="8" name="Szövegdoboz 7"/>
          <p:cNvSpPr txBox="1"/>
          <p:nvPr/>
        </p:nvSpPr>
        <p:spPr>
          <a:xfrm>
            <a:off x="206890" y="4745615"/>
            <a:ext cx="9360000" cy="2338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6 nyelvet és dialektust ért és beszél; hang és chat csatornákon is használható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lönböző kommunikációs csatornákon és alkalmazásokból használható: telefon, web chat,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book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ssenger,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ber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reszabható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komplex folyamatokkal, háttérrendszerekkel integrálható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pes alkalmazkodni az ügyfelek egyedi jellemzőihez (személyre szabott kezelés)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olgáltatás mind telephelyen, mind felhőből biztosítható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pes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metrikus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ódszereket alkalmazni azonosítás céljából</a:t>
            </a:r>
            <a:endParaRPr lang="hu-H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1800" dirty="0"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206889" y="1135989"/>
            <a:ext cx="3941041" cy="341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-Systems Vanda</a:t>
            </a:r>
            <a:endParaRPr lang="hu-HU" sz="1800" dirty="0">
              <a:solidFill>
                <a:schemeClr val="tx2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5190965" y="1143822"/>
            <a:ext cx="1636850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BM Watson</a:t>
            </a:r>
            <a:endParaRPr lang="hu-HU" sz="1800" dirty="0">
              <a:solidFill>
                <a:schemeClr val="tx2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11" name="Lefelé nyíl 10"/>
          <p:cNvSpPr/>
          <p:nvPr/>
        </p:nvSpPr>
        <p:spPr bwMode="gray">
          <a:xfrm>
            <a:off x="1722783" y="4304741"/>
            <a:ext cx="1242282" cy="435218"/>
          </a:xfrm>
          <a:prstGeom prst="down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45993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Keresés az adatok mélyén – könyvtári üzleti intelligencia megoldások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Aft>
                  <a:spcPct val="0"/>
                </a:spcAft>
              </a:pPr>
              <a:t>25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Tartalom helye 4" descr="https://lh4.googleusercontent.com/WpQMBx1IxKvU7Vk-gLiIEHIez7Arcso-Z90A_m__LIfZHlFlhm_f0E8aP0_jSosRwOWCsbezmOax7MiMvIakaflcbfeD22l0eVVTy-PjgaPGH9Kzn27WTOqotnHLVqYA-batJit3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504" y="2116411"/>
            <a:ext cx="5507914" cy="203944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églalap 2"/>
          <p:cNvSpPr/>
          <p:nvPr/>
        </p:nvSpPr>
        <p:spPr>
          <a:xfrm>
            <a:off x="279504" y="4155859"/>
            <a:ext cx="543031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https://dzone.com/articles/solving-architectural-dilemmas-to-create-actionabl?fromrel=true</a:t>
            </a:r>
            <a:r>
              <a:rPr lang="hu-H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</a:t>
            </a:r>
            <a:endParaRPr lang="hu-H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279504" y="1193081"/>
            <a:ext cx="592993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betáplált és közzétett adatok közötti rétegekhez (rejtett adatok) speciális elemző és adatbányászati módszerek szükségesek (Nielsen,2.)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Kép 7" descr="http://neuralnetworksanddeeplearning.com/images/tikz35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8382" y="922708"/>
            <a:ext cx="2198507" cy="153734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Szövegdoboz 8"/>
          <p:cNvSpPr txBox="1"/>
          <p:nvPr/>
        </p:nvSpPr>
        <p:spPr>
          <a:xfrm>
            <a:off x="6031149" y="2926799"/>
            <a:ext cx="3816236" cy="1340486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Online és batch lekérdezés 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  <a:sym typeface="Wingdings" panose="05000000000000000000" pitchFamily="2" charset="2"/>
              </a:rPr>
              <a:t>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Predefiniált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kérdések 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  <a:sym typeface="Wingdings" panose="05000000000000000000" pitchFamily="2" charset="2"/>
              </a:rPr>
              <a:t>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Jelentések futtatása 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  <a:sym typeface="Wingdings" panose="05000000000000000000" pitchFamily="2" charset="2"/>
              </a:rPr>
              <a:t>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zeparált adattárak 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  <a:sym typeface="Wingdings" panose="05000000000000000000" pitchFamily="2" charset="2"/>
              </a:rPr>
              <a:t>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6031148" y="4859465"/>
            <a:ext cx="3816237" cy="2576787"/>
          </a:xfrm>
          <a:prstGeom prst="rect">
            <a:avLst/>
          </a:prstGeom>
          <a:solidFill>
            <a:srgbClr val="1E3770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OCLC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Collection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nalysis</a:t>
            </a:r>
            <a:endParaRPr lang="hu-HU" sz="1800" dirty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 success focus/imperatives</a:t>
            </a:r>
          </a:p>
          <a:p>
            <a:pPr marL="285750" indent="-2857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-driven decision-making</a:t>
            </a:r>
          </a:p>
          <a:p>
            <a:pPr marL="285750" indent="-2857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 complexity of technology, architecture, and data</a:t>
            </a:r>
            <a:endParaRPr lang="hu-HU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bg1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ictive analytics for student success (institutional level)</a:t>
            </a:r>
            <a:endParaRPr lang="hu-HU" sz="1800" dirty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213423" y="4897414"/>
            <a:ext cx="5640075" cy="200311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66700" marR="234950" lvl="0" indent="-266700">
              <a:lnSpc>
                <a:spcPts val="185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ashboardok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és vizualizációs elemző eszközök használata </a:t>
            </a:r>
          </a:p>
          <a:p>
            <a:pPr marL="266700" marR="234950" lvl="0" indent="-266700">
              <a:lnSpc>
                <a:spcPts val="185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Jelentések adatgyűjtésről, adatbázisokról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633413" marR="234950" lvl="1" indent="-268288">
              <a:lnSpc>
                <a:spcPts val="185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266700" algn="l"/>
              </a:tabLst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ennyiségi és minőségi kimutatásokkal, web analízis, könyvtári fókusz csoportok elemzése, adatok összetétele, integritása, adattisztítás, stb.  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zövegdoboz 10"/>
          <p:cNvSpPr txBox="1"/>
          <p:nvPr/>
        </p:nvSpPr>
        <p:spPr>
          <a:xfrm>
            <a:off x="6031145" y="2585496"/>
            <a:ext cx="4049477" cy="34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Üzleti intelligencia könyvtárakban</a:t>
            </a:r>
          </a:p>
        </p:txBody>
      </p:sp>
      <p:sp>
        <p:nvSpPr>
          <p:cNvPr id="12" name="Szövegdoboz 11"/>
          <p:cNvSpPr txBox="1"/>
          <p:nvPr/>
        </p:nvSpPr>
        <p:spPr>
          <a:xfrm>
            <a:off x="6031148" y="4518162"/>
            <a:ext cx="4049477" cy="34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Elemző eszközök könyvtárakban</a:t>
            </a:r>
          </a:p>
        </p:txBody>
      </p:sp>
    </p:spTree>
    <p:extLst>
      <p:ext uri="{BB962C8B-B14F-4D97-AF65-F5344CB8AC3E}">
        <p14:creationId xmlns:p14="http://schemas.microsoft.com/office/powerpoint/2010/main" val="210043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1950" y="209149"/>
            <a:ext cx="9364663" cy="588082"/>
          </a:xfrm>
        </p:spPr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Mesterséges intelligencia „keresi a tűt a szénakazalban”</a:t>
            </a:r>
            <a:b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6</a:t>
            </a:fld>
            <a:endParaRPr lang="en-US" dirty="0"/>
          </a:p>
        </p:txBody>
      </p:sp>
      <p:sp>
        <p:nvSpPr>
          <p:cNvPr id="6" name="Szövegdoboz 5"/>
          <p:cNvSpPr txBox="1"/>
          <p:nvPr/>
        </p:nvSpPr>
        <p:spPr>
          <a:xfrm flipH="1">
            <a:off x="361950" y="1088335"/>
            <a:ext cx="5162026" cy="36636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accent1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antic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olar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2015</a:t>
            </a:r>
          </a:p>
          <a:p>
            <a:endParaRPr lang="hu-HU" sz="1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jlesztésnél kombinálták a gépi tanulást, a természetes nyelvi folyamatok programozását, beépítettek egy szemantikai elemző eszközt, és egy </a:t>
            </a:r>
            <a:r>
              <a:rPr lang="hu-HU" sz="1800" dirty="0" err="1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cézés</a:t>
            </a:r>
            <a:r>
              <a:rPr lang="hu-HU" sz="1800" dirty="0">
                <a:solidFill>
                  <a:schemeClr val="accent5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alízis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zközt, amelynek eredményeit grafikusan is bemutatja a rendszer.</a:t>
            </a:r>
          </a:p>
          <a:p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onlóan a 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2" tooltip="Google Scholar"/>
              </a:rPr>
              <a:t>Google Scholar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3" tooltip="PubMed"/>
              </a:rPr>
              <a:t>PubMed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dszerekhez, itt is a legjelentősebb forrásokat építették be a keresésbe és a kapcsolatok kiépítésébe, jelentős orvoslási forrásanyagokkal.</a:t>
            </a:r>
          </a:p>
          <a:p>
            <a:r>
              <a:rPr lang="hu-HU" sz="1800" u="sng" dirty="0">
                <a:hlinkClick r:id="rId4"/>
              </a:rPr>
              <a:t>http://www.kithirlevel.hu/index.php?kh=mesterseges_intelligencia_keresi_a_tut_a_szenakazalban</a:t>
            </a:r>
            <a:r>
              <a:rPr lang="hu-HU" sz="1800" u="sng" dirty="0"/>
              <a:t> </a:t>
            </a:r>
            <a:endParaRPr lang="hu-HU" sz="1800" dirty="0">
              <a:solidFill>
                <a:srgbClr val="1E3770"/>
              </a:solidFill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5788917" y="1088335"/>
            <a:ext cx="3937696" cy="505868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esterséges intelligencia kutatói automatizált kereső eszközt hoztak létre, amivel minden tudományos publikációt átvizsgálva új, eddig felfedezetlen kapcsolatokat találnának az információk között.</a:t>
            </a:r>
            <a:b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vente megjelenő közel 2 millió tudományos folyóirat automatikus elolvasása, feldolgozása és kategorizálása. </a:t>
            </a:r>
          </a:p>
          <a:p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ublikációk felét átlagosan mindössze legfeljebb három ember olvassa el, így rendkívüli tudásmennyiség mehet veszendőbe. </a:t>
            </a:r>
          </a:p>
          <a:p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n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zioni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Seattle-i Allen Mesterséges Intelligencia Intézet (AI2) igazgatója. Ld. KIT hírlevél, stb.) </a:t>
            </a:r>
            <a:endParaRPr lang="hu-HU" sz="1800" dirty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361950" y="4921948"/>
            <a:ext cx="5162026" cy="1225070"/>
          </a:xfrm>
          <a:prstGeom prst="rect">
            <a:avLst/>
          </a:prstGeom>
          <a:noFill/>
          <a:ln w="9525">
            <a:solidFill>
              <a:srgbClr val="1E3770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jlesztő 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ul Allen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rosoft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ooperációban végezte a kutatást induláskor 100 000 cikk alapján,  több orvosi szakértő bevonásával, előzetes elemzésekkel</a:t>
            </a:r>
            <a:endParaRPr lang="hu-HU" sz="18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pic>
        <p:nvPicPr>
          <p:cNvPr id="9" name="Kép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8172" y="6290488"/>
            <a:ext cx="2648717" cy="9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72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240529"/>
            <a:ext cx="9364663" cy="588082"/>
          </a:xfrm>
        </p:spPr>
        <p:txBody>
          <a:bodyPr/>
          <a:lstStyle/>
          <a:p>
            <a:pPr algn="ctr"/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Talk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book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– a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Google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új mesterséges intelligencia keresője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7</a:t>
            </a:fld>
            <a:endParaRPr lang="en-US" dirty="0"/>
          </a:p>
        </p:txBody>
      </p:sp>
      <p:pic>
        <p:nvPicPr>
          <p:cNvPr id="5" name="Tartalom helye 4"/>
          <p:cNvPicPr>
            <a:picLocks noGrp="1"/>
          </p:cNvPicPr>
          <p:nvPr>
            <p:ph idx="1"/>
          </p:nvPr>
        </p:nvPicPr>
        <p:blipFill rotWithShape="1">
          <a:blip r:embed="rId2"/>
          <a:srcRect l="13132" t="14619" r="16779"/>
          <a:stretch/>
        </p:blipFill>
        <p:spPr>
          <a:xfrm>
            <a:off x="452027" y="1238587"/>
            <a:ext cx="4568260" cy="2790987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6" name="Szövegdoboz 5"/>
          <p:cNvSpPr txBox="1"/>
          <p:nvPr/>
        </p:nvSpPr>
        <p:spPr>
          <a:xfrm>
            <a:off x="5347083" y="1223233"/>
            <a:ext cx="4468047" cy="561268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sz="18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dirty="0" err="1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k</a:t>
            </a:r>
            <a:r>
              <a:rPr lang="hu-HU" sz="18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hu-HU" sz="18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s</a:t>
            </a:r>
            <a:r>
              <a:rPr lang="hu-HU" sz="18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fejezetten a könyvekben őrzött tudásra alapoz</a:t>
            </a:r>
          </a:p>
          <a:p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s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udásbázis alapján. </a:t>
            </a:r>
          </a:p>
          <a:p>
            <a:endParaRPr lang="hu-HU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esterséges intelligencia gépi tanulással értelmezi a kérdést, és a bő 100 ezernyi könyv teljes szövegéből próbál értelmes, releváns válaszokat kihozni.</a:t>
            </a:r>
          </a:p>
          <a:p>
            <a:r>
              <a:rPr lang="hu-HU" sz="18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ntanuló rendszer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 kezdeti próbálkozásoknál a relevancia korlátait meghatározza a beépített könyvek tematikája</a:t>
            </a:r>
          </a:p>
          <a:p>
            <a:r>
              <a:rPr lang="hu-HU" sz="18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yes válaszok vannak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 teljes válasz még nincs a kis minta következtében</a:t>
            </a:r>
          </a:p>
          <a:p>
            <a:endParaRPr lang="hu-HU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találati lista elemei referencia műnek jelenleg még nem kezelhetők, a könyvek érték szerinti válogatása valószínű nem történt még meg.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125232" y="6244996"/>
            <a:ext cx="4683306" cy="34130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360000" y="4230737"/>
            <a:ext cx="4752315" cy="27229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bad szöveges kérdések, azonnali válaszok. 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eginkább releváns válaszokat egy öntanuló “robot” keresi meg a</a:t>
            </a:r>
            <a:b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 Könyvek (Google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ks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tartalmából.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z angol nyelven feltett kérdésekre egészen jó válaszok érkeznek, a keresőkérdések kicsi módosítása nyomán változó, de hasonló a találati listákat kapunk.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3635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Könyvtári mesterséges intelligencia fejl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360000" y="1067698"/>
            <a:ext cx="9364663" cy="5701237"/>
          </a:xfrm>
          <a:solidFill>
            <a:schemeClr val="bg1"/>
          </a:solidFill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ppel olvasható adatok 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övelés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ódolás, azonosítás, egységesítés, adatmodellek és adatmenedzsment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nzitív adatok menedzselése, copyright szabályok egységesítése 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ID szabályzatok és eljárások egységesítése (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zitóriumok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ok megbízhatóságának 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jlesztése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mintavétel elemzések alapján  (kodifikált adatok), nemzetközi szakértői rendszerek (VIAF,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data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SNI…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esés fejlesztése tudásháló és 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terséges intelligencia technológiával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értői rendszerek, szövegelemzések, adatbányászat, mély keresések, kép-, hang- és szövegfelismeré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pi tanulás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ri gondolkodás szimulálás algoritmusokkal, mesterséges intelligencia kiterjesztése a használói rendszerekre, programozott útmutatók, szabad szöveges kérdések és válaszok, szöveg- és kép felismerés, stb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ját fejlesztések és külső eszközök integrációi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terséges intelligencia szolgáltatások begyűjtése, alkalmazása, használata, transzformálása</a:t>
            </a:r>
          </a:p>
          <a:p>
            <a:endParaRPr lang="hu-HU" dirty="0">
              <a:solidFill>
                <a:srgbClr val="1E3770"/>
              </a:solidFill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68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86544" y="174272"/>
            <a:ext cx="8467712" cy="588082"/>
          </a:xfrm>
        </p:spPr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A könyvtári szakértői rendszerek</a:t>
            </a:r>
            <a:b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09652" y="2892106"/>
            <a:ext cx="4732363" cy="2166782"/>
          </a:xfrm>
          <a:ln>
            <a:solidFill>
              <a:schemeClr val="accent1"/>
            </a:solidFill>
          </a:ln>
        </p:spPr>
        <p:txBody>
          <a:bodyPr/>
          <a:lstStyle/>
          <a:p>
            <a:pPr marL="96837" lvl="2" indent="0">
              <a:buNone/>
            </a:pP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i szakértői rendszer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ámítógéppel támogatott probléma megoldás emberi intelligenciát részben helyettesítő módon</a:t>
            </a:r>
          </a:p>
          <a:p>
            <a:pPr marL="96837" lvl="2" indent="0">
              <a:buNone/>
            </a:pP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pessé tesz terjedelmes, bonyolult, vagy sok adatot és hivatkozást igénylő feladatvégzésre, vagy a kiszolgált terület átlátására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29</a:t>
            </a:fld>
            <a:endParaRPr lang="en-US" dirty="0"/>
          </a:p>
        </p:txBody>
      </p:sp>
      <p:sp>
        <p:nvSpPr>
          <p:cNvPr id="6" name="Szövegdoboz 5"/>
          <p:cNvSpPr txBox="1"/>
          <p:nvPr/>
        </p:nvSpPr>
        <p:spPr>
          <a:xfrm>
            <a:off x="409653" y="1074584"/>
            <a:ext cx="4732362" cy="149367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 mesterséges intelligencia </a:t>
            </a:r>
            <a:r>
              <a:rPr lang="hu-HU" sz="1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bővíti a könyvtári döntéshozás és elemzés folyamatához szükséges képességeket, de teljes mértékben itt sem helyettesíti azt.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5852945" y="1074583"/>
            <a:ext cx="3873668" cy="34736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69888" lvl="4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bb száz szabály programozása  - feldolgozott tudás a hagyományos könyvtári területeken </a:t>
            </a:r>
          </a:p>
          <a:p>
            <a:pPr marL="369887" lvl="4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dásbázis alap a tárgyról</a:t>
            </a:r>
          </a:p>
          <a:p>
            <a:pPr marL="369887" lvl="4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épített </a:t>
            </a: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éldák, alkalmazási szabályok </a:t>
            </a:r>
          </a:p>
          <a:p>
            <a:pPr marL="369887" lvl="4" indent="-285750">
              <a:buFont typeface="Arial" panose="020B0604020202020204" pitchFamily="34" charset="0"/>
              <a:buChar char="•"/>
            </a:pPr>
            <a:r>
              <a:rPr lang="hu-H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erence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következtető motor és felhasználói felület</a:t>
            </a:r>
          </a:p>
          <a:p>
            <a:pPr marL="369888" lvl="4" indent="-28575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tmenetek: elektronikus programozott oktatás linkekkel külső forrásokhoz</a:t>
            </a:r>
          </a:p>
        </p:txBody>
      </p:sp>
      <p:sp>
        <p:nvSpPr>
          <p:cNvPr id="12" name="Szövegdoboz 11"/>
          <p:cNvSpPr txBox="1"/>
          <p:nvPr/>
        </p:nvSpPr>
        <p:spPr>
          <a:xfrm>
            <a:off x="0" y="5467340"/>
            <a:ext cx="10080625" cy="107143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solidFill>
              <a:srgbClr val="E20074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 minden területén jellemző manuális és átmeneti szakértői rendszerek: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alogizálás, beszerzés, adatbázis kiválasztás, keresés, publikációs eljárások és informatikai eszközök, hatásvizsgálat, használói és kompetencia vizsgálatok, web,stb. </a:t>
            </a:r>
            <a:endParaRPr lang="hu-HU" sz="2000" dirty="0">
              <a:solidFill>
                <a:schemeClr val="bg1"/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853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z="2000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Aft>
                  <a:spcPct val="0"/>
                </a:spcAft>
              </a:pPr>
              <a:t>3</a:t>
            </a:fld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ím 1"/>
          <p:cNvSpPr txBox="1">
            <a:spLocks/>
          </p:cNvSpPr>
          <p:nvPr/>
        </p:nvSpPr>
        <p:spPr>
          <a:xfrm>
            <a:off x="45071" y="306567"/>
            <a:ext cx="10035554" cy="872945"/>
          </a:xfrm>
          <a:prstGeom prst="rect">
            <a:avLst/>
          </a:prstGeom>
        </p:spPr>
        <p:txBody>
          <a:bodyPr/>
          <a:lstStyle>
            <a:lvl1pPr marL="0" indent="0" algn="l" defTabSz="45732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2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71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342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51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68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Útközben a mesterséges intelligencia felé – könyvtári  inspiráció</a:t>
            </a:r>
          </a:p>
        </p:txBody>
      </p:sp>
      <p:sp>
        <p:nvSpPr>
          <p:cNvPr id="6" name="Szövegdoboz 5"/>
          <p:cNvSpPr txBox="1"/>
          <p:nvPr/>
        </p:nvSpPr>
        <p:spPr>
          <a:xfrm>
            <a:off x="251791" y="1551949"/>
            <a:ext cx="3931588" cy="175779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Digitális transzformáció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Növekvő tartalom, számítógépes kapacitás 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zakértői tudásbővülés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Fejlődő informatika</a:t>
            </a:r>
          </a:p>
        </p:txBody>
      </p:sp>
      <p:sp>
        <p:nvSpPr>
          <p:cNvPr id="8" name="Szövegdoboz 7"/>
          <p:cNvSpPr txBox="1"/>
          <p:nvPr/>
        </p:nvSpPr>
        <p:spPr>
          <a:xfrm>
            <a:off x="4396069" y="1417288"/>
            <a:ext cx="4864239" cy="430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>
                <a:ln w="22225">
                  <a:solidFill>
                    <a:schemeClr val="tx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Globális digitalizáció</a:t>
            </a:r>
          </a:p>
        </p:txBody>
      </p:sp>
      <p:sp>
        <p:nvSpPr>
          <p:cNvPr id="9" name="Szövegdoboz 8"/>
          <p:cNvSpPr txBox="1"/>
          <p:nvPr/>
        </p:nvSpPr>
        <p:spPr>
          <a:xfrm>
            <a:off x="4396068" y="4296163"/>
            <a:ext cx="5492081" cy="136985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Nagy mennyiségű mintavétel az elemzéshez </a:t>
            </a:r>
          </a:p>
          <a:p>
            <a:pPr lvl="1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Beszéd-, kép- és hangfelismerés szövegelemzés, következtetések, analízis</a:t>
            </a:r>
          </a:p>
        </p:txBody>
      </p:sp>
      <p:sp>
        <p:nvSpPr>
          <p:cNvPr id="4" name="Szövegdoboz 3"/>
          <p:cNvSpPr txBox="1"/>
          <p:nvPr/>
        </p:nvSpPr>
        <p:spPr>
          <a:xfrm>
            <a:off x="4987400" y="3920200"/>
            <a:ext cx="4845713" cy="371118"/>
          </a:xfrm>
          <a:prstGeom prst="rect">
            <a:avLst/>
          </a:prstGeom>
          <a:solidFill>
            <a:srgbClr val="1E3770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Géppel értelmezhető adatok</a:t>
            </a:r>
          </a:p>
        </p:txBody>
      </p:sp>
      <p:sp>
        <p:nvSpPr>
          <p:cNvPr id="11" name="AutoShape 4" descr="Képtalálat a következőre: „oclc worldcat”"/>
          <p:cNvSpPr>
            <a:spLocks noChangeAspect="1" noChangeArrowheads="1"/>
          </p:cNvSpPr>
          <p:nvPr/>
        </p:nvSpPr>
        <p:spPr bwMode="auto">
          <a:xfrm>
            <a:off x="120650" y="15875"/>
            <a:ext cx="1438275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2" name="Jobbra nyíl 11"/>
          <p:cNvSpPr/>
          <p:nvPr/>
        </p:nvSpPr>
        <p:spPr bwMode="gray">
          <a:xfrm>
            <a:off x="4247729" y="1747620"/>
            <a:ext cx="566970" cy="983513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zövegdoboz 12"/>
          <p:cNvSpPr txBox="1"/>
          <p:nvPr/>
        </p:nvSpPr>
        <p:spPr>
          <a:xfrm>
            <a:off x="238909" y="3509736"/>
            <a:ext cx="3944470" cy="2070173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Webtechnológia a könyvtárakban, táguló globális forrásadatok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Dinamikus szemantikus adathálózati kapcsolatok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eresés szemantikai alapon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4987400" y="1882197"/>
            <a:ext cx="4900750" cy="1331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lvl="2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Nyílt, kodifikált adatok, szemantikai tárolók, globális könyvtári vállalkozások (OCLC, EXLIBRIS, ALA, IFLA, EBSCO, LC, stb.</a:t>
            </a:r>
          </a:p>
        </p:txBody>
      </p:sp>
      <p:sp>
        <p:nvSpPr>
          <p:cNvPr id="15" name="Szövegdoboz 14"/>
          <p:cNvSpPr txBox="1"/>
          <p:nvPr/>
        </p:nvSpPr>
        <p:spPr>
          <a:xfrm>
            <a:off x="4396069" y="3407522"/>
            <a:ext cx="5817189" cy="430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b="1" dirty="0">
                <a:ln w="22225">
                  <a:solidFill>
                    <a:schemeClr val="tx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„</a:t>
            </a:r>
            <a:r>
              <a:rPr lang="hu-HU" sz="2400" b="1" dirty="0" err="1">
                <a:ln w="22225">
                  <a:solidFill>
                    <a:schemeClr val="tx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data</a:t>
            </a:r>
            <a:r>
              <a:rPr lang="hu-HU" sz="2400" b="1" dirty="0">
                <a:ln w="22225">
                  <a:solidFill>
                    <a:schemeClr val="tx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of web” RFID szenzorok</a:t>
            </a:r>
          </a:p>
        </p:txBody>
      </p:sp>
      <p:sp>
        <p:nvSpPr>
          <p:cNvPr id="14" name="Szövegdoboz 13"/>
          <p:cNvSpPr txBox="1"/>
          <p:nvPr/>
        </p:nvSpPr>
        <p:spPr>
          <a:xfrm>
            <a:off x="4968875" y="5749141"/>
            <a:ext cx="4864238" cy="691206"/>
          </a:xfrm>
          <a:prstGeom prst="rect">
            <a:avLst/>
          </a:prstGeom>
          <a:solidFill>
            <a:srgbClr val="1E3770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b="1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lligencia szimulálása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 rendszerekben –</a:t>
            </a:r>
            <a:r>
              <a:rPr lang="hu-HU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</a:t>
            </a:r>
            <a:r>
              <a:rPr lang="hu-HU" sz="20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 tanulás</a:t>
            </a:r>
          </a:p>
        </p:txBody>
      </p:sp>
      <p:sp>
        <p:nvSpPr>
          <p:cNvPr id="10" name="Szövegdoboz 9"/>
          <p:cNvSpPr txBox="1"/>
          <p:nvPr/>
        </p:nvSpPr>
        <p:spPr>
          <a:xfrm>
            <a:off x="238908" y="5749141"/>
            <a:ext cx="3944471" cy="936979"/>
          </a:xfrm>
          <a:prstGeom prst="rect">
            <a:avLst/>
          </a:prstGeom>
          <a:solidFill>
            <a:srgbClr val="1E3770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ntelligens alkalmazások gépi tanulás alapján  képesek az emberrel és más rendszerekkel kommunikálni</a:t>
            </a:r>
            <a:endParaRPr lang="hu-HU" sz="1800" dirty="0">
              <a:solidFill>
                <a:schemeClr val="bg1"/>
              </a:solidFill>
              <a:ea typeface="Swagger" pitchFamily="2" charset="0"/>
            </a:endParaRPr>
          </a:p>
        </p:txBody>
      </p:sp>
      <p:sp>
        <p:nvSpPr>
          <p:cNvPr id="16" name="Jobbra nyíl 15"/>
          <p:cNvSpPr/>
          <p:nvPr/>
        </p:nvSpPr>
        <p:spPr bwMode="gray">
          <a:xfrm>
            <a:off x="4278405" y="5725873"/>
            <a:ext cx="536294" cy="983513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388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0</a:t>
            </a:fld>
            <a:endParaRPr lang="en-US" dirty="0"/>
          </a:p>
        </p:txBody>
      </p:sp>
      <p:sp>
        <p:nvSpPr>
          <p:cNvPr id="6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hu-HU" altLang="hu-HU" sz="2800" dirty="0">
                <a:latin typeface="Arial" panose="020B0604020202020204" pitchFamily="34" charset="0"/>
                <a:cs typeface="Arial" panose="020B0604020202020204" pitchFamily="34" charset="0"/>
              </a:rPr>
              <a:t>Kooperatív könyvtári szakértői rendszerek</a:t>
            </a:r>
          </a:p>
        </p:txBody>
      </p:sp>
      <p:sp>
        <p:nvSpPr>
          <p:cNvPr id="7" name="Élőláb helye 4"/>
          <p:cNvSpPr>
            <a:spLocks noGrp="1"/>
          </p:cNvSpPr>
          <p:nvPr>
            <p:ph sz="half" idx="2"/>
          </p:nvPr>
        </p:nvSpPr>
        <p:spPr>
          <a:xfrm>
            <a:off x="6437662" y="1034363"/>
            <a:ext cx="3453431" cy="4896000"/>
          </a:xfr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/>
          <a:lstStyle>
            <a:lvl1pPr marL="283510" indent="-28351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219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945032" indent="-189006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323045" indent="-189006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701058" indent="-189006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079071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457084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2835097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213110" indent="-189006" defTabSz="3780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marL="357940" lvl="1" indent="-285750">
              <a:lnSpc>
                <a:spcPts val="22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altLang="hu-HU" dirty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altLang="hu-HU" dirty="0" err="1">
                <a:latin typeface="Arial" panose="020B0604020202020204" pitchFamily="34" charset="0"/>
                <a:cs typeface="Arial" panose="020B0604020202020204" pitchFamily="34" charset="0"/>
              </a:rPr>
              <a:t>WorldCat</a:t>
            </a:r>
            <a:r>
              <a:rPr lang="hu-HU" altLang="hu-HU" dirty="0">
                <a:latin typeface="Arial" panose="020B0604020202020204" pitchFamily="34" charset="0"/>
                <a:cs typeface="Arial" panose="020B0604020202020204" pitchFamily="34" charset="0"/>
              </a:rPr>
              <a:t> unikális szerepe a linked </a:t>
            </a:r>
            <a:r>
              <a:rPr lang="hu-HU" altLang="hu-HU" dirty="0" err="1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altLang="hu-HU" dirty="0">
                <a:latin typeface="Arial" panose="020B0604020202020204" pitchFamily="34" charset="0"/>
                <a:cs typeface="Arial" panose="020B0604020202020204" pitchFamily="34" charset="0"/>
              </a:rPr>
              <a:t> struktúrák felépítésében</a:t>
            </a:r>
          </a:p>
          <a:p>
            <a:pPr marL="357940" lvl="1" indent="-285750">
              <a:lnSpc>
                <a:spcPts val="22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altLang="hu-HU" dirty="0" err="1">
                <a:latin typeface="Arial" panose="020B0604020202020204" pitchFamily="34" charset="0"/>
                <a:cs typeface="Arial" panose="020B0604020202020204" pitchFamily="34" charset="0"/>
              </a:rPr>
              <a:t>Authority</a:t>
            </a:r>
            <a:r>
              <a:rPr lang="hu-HU" altLang="hu-HU" dirty="0">
                <a:latin typeface="Arial" panose="020B0604020202020204" pitchFamily="34" charset="0"/>
                <a:cs typeface="Arial" panose="020B0604020202020204" pitchFamily="34" charset="0"/>
              </a:rPr>
              <a:t> fejlesztések változatos struktúrákban</a:t>
            </a:r>
          </a:p>
          <a:p>
            <a:pPr marL="357940" lvl="1" indent="-285750">
              <a:lnSpc>
                <a:spcPts val="22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altLang="hu-HU" dirty="0">
                <a:latin typeface="Arial" panose="020B0604020202020204" pitchFamily="34" charset="0"/>
                <a:cs typeface="Arial" panose="020B0604020202020204" pitchFamily="34" charset="0"/>
              </a:rPr>
              <a:t>Többféle </a:t>
            </a:r>
            <a:r>
              <a:rPr lang="hu-HU" altLang="hu-HU" dirty="0" err="1">
                <a:latin typeface="Arial" panose="020B0604020202020204" pitchFamily="34" charset="0"/>
                <a:cs typeface="Arial" panose="020B0604020202020204" pitchFamily="34" charset="0"/>
              </a:rPr>
              <a:t>authority</a:t>
            </a:r>
            <a:r>
              <a:rPr lang="hu-HU" altLang="hu-HU" dirty="0">
                <a:latin typeface="Arial" panose="020B0604020202020204" pitchFamily="34" charset="0"/>
                <a:cs typeface="Arial" panose="020B0604020202020204" pitchFamily="34" charset="0"/>
              </a:rPr>
              <a:t> rendszer kombinációi</a:t>
            </a:r>
          </a:p>
          <a:p>
            <a:pPr marL="357940" lvl="1" indent="-285750">
              <a:lnSpc>
                <a:spcPts val="2200"/>
              </a:lnSpc>
              <a:spcBef>
                <a:spcPct val="25000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altLang="hu-HU" dirty="0">
                <a:latin typeface="Arial" panose="020B0604020202020204" pitchFamily="34" charset="0"/>
                <a:cs typeface="Arial" panose="020B0604020202020204" pitchFamily="34" charset="0"/>
              </a:rPr>
              <a:t>Egységes jelölőnyelvek </a:t>
            </a:r>
          </a:p>
        </p:txBody>
      </p:sp>
      <p:sp>
        <p:nvSpPr>
          <p:cNvPr id="9" name="Tartalom helye 8"/>
          <p:cNvSpPr txBox="1">
            <a:spLocks noGrp="1"/>
          </p:cNvSpPr>
          <p:nvPr>
            <p:ph sz="half" idx="1"/>
          </p:nvPr>
        </p:nvSpPr>
        <p:spPr>
          <a:xfrm>
            <a:off x="360000" y="1009394"/>
            <a:ext cx="5991839" cy="18885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3236" lvl="1" indent="-223236">
              <a:spcAft>
                <a:spcPts val="372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F (</a:t>
            </a:r>
            <a:r>
              <a:rPr lang="hu-HU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</a:t>
            </a: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ity</a:t>
            </a: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ile)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gységesített besorolási adatok nemzetközi virtuális adatbázisa</a:t>
            </a:r>
          </a:p>
          <a:p>
            <a:pPr marL="223236" lvl="1" indent="-223236">
              <a:spcAft>
                <a:spcPts val="372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F </a:t>
            </a:r>
            <a:r>
              <a:rPr lang="hu-HU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ty</a:t>
            </a: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etwork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ity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atok összegzése grafikusan is </a:t>
            </a:r>
          </a:p>
          <a:p>
            <a:pPr marL="223236" lvl="1" indent="-223236">
              <a:spcAft>
                <a:spcPts val="372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NI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International </a:t>
            </a:r>
            <a:r>
              <a:rPr lang="hu-HU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dard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hu-HU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hor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hu-HU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tion</a:t>
            </a:r>
            <a:endParaRPr lang="hu-HU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166070" y="3025259"/>
            <a:ext cx="6052715" cy="369331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95323" lvl="1" indent="-224446">
              <a:buFont typeface="Wingdings" panose="05000000000000000000" pitchFamily="2" charset="2"/>
              <a:buChar char="§"/>
              <a:defRPr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 - </a:t>
            </a: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tted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ject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inology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webes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ject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éma /   OCLC és a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brary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gress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gyüttműködésében  az LC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ject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dings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apján </a:t>
            </a:r>
          </a:p>
          <a:p>
            <a:pPr marL="295323" lvl="1" indent="-224446">
              <a:buFont typeface="Wingdings" panose="05000000000000000000" pitchFamily="2" charset="2"/>
              <a:buChar char="§"/>
              <a:defRPr/>
            </a:pP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ma.org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a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ng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gle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hoo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 és a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andex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orosz keresőmotor) fejlesztésében az interneten szereplő információk strukturálására alkalmas egységes jelölőnyelv</a:t>
            </a:r>
          </a:p>
          <a:p>
            <a:pPr marL="295323" lvl="1" indent="-224446">
              <a:buFont typeface="Wingdings" panose="05000000000000000000" pitchFamily="2" charset="2"/>
              <a:buChar char="§"/>
              <a:defRPr/>
            </a:pPr>
            <a:r>
              <a:rPr lang="hu-HU" sz="18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data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a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kipédia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8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Cat</a:t>
            </a: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VIAF kapcsolat az adatminőség javítására, adatok egységesítésére, azonosítására, nemzeti könyvtárak együttműködésében  </a:t>
            </a:r>
          </a:p>
          <a:p>
            <a:pPr marL="70877" lvl="1">
              <a:defRPr/>
            </a:pPr>
            <a:r>
              <a:rPr lang="hu-HU" sz="1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</p:txBody>
      </p:sp>
      <p:pic>
        <p:nvPicPr>
          <p:cNvPr id="12" name="Tartalom helye 5"/>
          <p:cNvPicPr>
            <a:picLocks/>
          </p:cNvPicPr>
          <p:nvPr/>
        </p:nvPicPr>
        <p:blipFill rotWithShape="1">
          <a:blip r:embed="rId2"/>
          <a:srcRect l="39918" t="16378" r="19916" b="31192"/>
          <a:stretch/>
        </p:blipFill>
        <p:spPr bwMode="auto">
          <a:xfrm>
            <a:off x="6424869" y="3673085"/>
            <a:ext cx="3466224" cy="2409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Kép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449" y="6343877"/>
            <a:ext cx="2648717" cy="9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378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60000" y="1204763"/>
            <a:ext cx="9360000" cy="4896000"/>
          </a:xfrm>
        </p:spPr>
        <p:txBody>
          <a:bodyPr/>
          <a:lstStyle/>
          <a:p>
            <a:endParaRPr lang="hu-HU" dirty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1</a:t>
            </a:fld>
            <a:endParaRPr lang="en-US" dirty="0"/>
          </a:p>
        </p:txBody>
      </p:sp>
      <p:sp>
        <p:nvSpPr>
          <p:cNvPr id="5" name="Cím 4"/>
          <p:cNvSpPr>
            <a:spLocks noGrp="1"/>
          </p:cNvSpPr>
          <p:nvPr>
            <p:ph type="title"/>
          </p:nvPr>
        </p:nvSpPr>
        <p:spPr>
          <a:xfrm>
            <a:off x="252412" y="265981"/>
            <a:ext cx="9364663" cy="7755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Pl.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Electronic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selection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Expert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system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Wei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Ma, </a:t>
            </a:r>
            <a:r>
              <a:rPr lang="hu-HU" sz="2800" dirty="0" err="1">
                <a:latin typeface="Arial" panose="020B0604020202020204" pitchFamily="34" charset="0"/>
                <a:cs typeface="Arial" panose="020B0604020202020204" pitchFamily="34" charset="0"/>
              </a:rPr>
              <a:t>Timothy</a:t>
            </a: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 W. Cole, több kiadásban (7.)</a:t>
            </a:r>
          </a:p>
        </p:txBody>
      </p:sp>
      <p:sp>
        <p:nvSpPr>
          <p:cNvPr id="7" name="Téglalap 6"/>
          <p:cNvSpPr/>
          <p:nvPr/>
        </p:nvSpPr>
        <p:spPr>
          <a:xfrm>
            <a:off x="252412" y="5686616"/>
            <a:ext cx="5109482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pdfs.semanticscholar.org/4f36/9ac2940237a348edd431c37fca901b64c731.pdf</a:t>
            </a:r>
            <a:endParaRPr 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www.ala.org/acrl/sites/ala.org.acrl/files/content/conferences/pdf/ma.pdf</a:t>
            </a:r>
            <a:endParaRPr 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dirty="0"/>
          </a:p>
        </p:txBody>
      </p:sp>
      <p:pic>
        <p:nvPicPr>
          <p:cNvPr id="9" name="Kép 8"/>
          <p:cNvPicPr/>
          <p:nvPr/>
        </p:nvPicPr>
        <p:blipFill rotWithShape="1">
          <a:blip r:embed="rId5"/>
          <a:srcRect l="9497" t="14268" r="50241" b="12741"/>
          <a:stretch/>
        </p:blipFill>
        <p:spPr bwMode="auto">
          <a:xfrm>
            <a:off x="1" y="1253668"/>
            <a:ext cx="5537646" cy="4220858"/>
          </a:xfrm>
          <a:prstGeom prst="rect">
            <a:avLst/>
          </a:pr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Szövegdoboz 9"/>
          <p:cNvSpPr txBox="1"/>
          <p:nvPr/>
        </p:nvSpPr>
        <p:spPr>
          <a:xfrm>
            <a:off x="6203852" y="1828801"/>
            <a:ext cx="3522761" cy="5024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ea typeface="Swagger" pitchFamily="2" charset="0"/>
            </a:endParaRPr>
          </a:p>
        </p:txBody>
      </p:sp>
      <p:pic>
        <p:nvPicPr>
          <p:cNvPr id="11" name="Kép 10"/>
          <p:cNvPicPr/>
          <p:nvPr/>
        </p:nvPicPr>
        <p:blipFill rotWithShape="1">
          <a:blip r:embed="rId6"/>
          <a:srcRect l="10723" t="12915" r="50353" b="5093"/>
          <a:stretch/>
        </p:blipFill>
        <p:spPr bwMode="auto">
          <a:xfrm>
            <a:off x="6412415" y="1322880"/>
            <a:ext cx="3408940" cy="296126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3" name="Kép 12"/>
          <p:cNvPicPr/>
          <p:nvPr/>
        </p:nvPicPr>
        <p:blipFill rotWithShape="1">
          <a:blip r:embed="rId7"/>
          <a:srcRect l="13762" t="25678" r="11494"/>
          <a:stretch/>
        </p:blipFill>
        <p:spPr bwMode="auto">
          <a:xfrm>
            <a:off x="5537646" y="4365629"/>
            <a:ext cx="4304030" cy="248813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4" name="Ötszög 13"/>
          <p:cNvSpPr/>
          <p:nvPr/>
        </p:nvSpPr>
        <p:spPr bwMode="gray">
          <a:xfrm>
            <a:off x="4697696" y="2803510"/>
            <a:ext cx="1619977" cy="661308"/>
          </a:xfrm>
          <a:prstGeom prst="homePlate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600" dirty="0" err="1">
                <a:latin typeface="Arial" panose="020B0604020202020204" pitchFamily="34" charset="0"/>
                <a:cs typeface="Arial" panose="020B0604020202020204" pitchFamily="34" charset="0"/>
              </a:rPr>
              <a:t>Kérdésponto</a:t>
            </a: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-sítások</a:t>
            </a:r>
          </a:p>
        </p:txBody>
      </p:sp>
      <p:sp>
        <p:nvSpPr>
          <p:cNvPr id="15" name="Ötszög 14"/>
          <p:cNvSpPr/>
          <p:nvPr/>
        </p:nvSpPr>
        <p:spPr bwMode="gray">
          <a:xfrm>
            <a:off x="3669475" y="4306210"/>
            <a:ext cx="1692420" cy="661308"/>
          </a:xfrm>
          <a:prstGeom prst="homePlate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600" dirty="0">
                <a:latin typeface="Arial" panose="020B0604020202020204" pitchFamily="34" charset="0"/>
                <a:cs typeface="Arial" panose="020B0604020202020204" pitchFamily="34" charset="0"/>
              </a:rPr>
              <a:t>Eredmény kiértékelések</a:t>
            </a:r>
          </a:p>
        </p:txBody>
      </p:sp>
    </p:spTree>
    <p:extLst>
      <p:ext uri="{BB962C8B-B14F-4D97-AF65-F5344CB8AC3E}">
        <p14:creationId xmlns:p14="http://schemas.microsoft.com/office/powerpoint/2010/main" val="3382200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2</a:t>
            </a:fld>
            <a:endParaRPr lang="en-US" dirty="0"/>
          </a:p>
        </p:txBody>
      </p:sp>
      <p:sp>
        <p:nvSpPr>
          <p:cNvPr id="3" name="Cím 2"/>
          <p:cNvSpPr>
            <a:spLocks noGrp="1"/>
          </p:cNvSpPr>
          <p:nvPr>
            <p:ph type="title"/>
          </p:nvPr>
        </p:nvSpPr>
        <p:spPr>
          <a:xfrm>
            <a:off x="682901" y="324465"/>
            <a:ext cx="8837009" cy="913148"/>
          </a:xfrm>
        </p:spPr>
        <p:txBody>
          <a:bodyPr/>
          <a:lstStyle/>
          <a:p>
            <a:pPr algn="ctr"/>
            <a:r>
              <a:rPr lang="hu-HU" sz="4800" dirty="0">
                <a:latin typeface="Arial" panose="020B0604020202020204" pitchFamily="34" charset="0"/>
                <a:cs typeface="Arial" panose="020B0604020202020204" pitchFamily="34" charset="0"/>
              </a:rPr>
              <a:t>Felkészülés</a:t>
            </a:r>
            <a:br>
              <a:rPr lang="hu-HU" sz="4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4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795645" y="1237613"/>
            <a:ext cx="8611519" cy="6288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zemantikus adatmodellek</a:t>
            </a:r>
          </a:p>
          <a:p>
            <a:pPr algn="ctr" defTabSz="457322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Egységesítés </a:t>
            </a:r>
          </a:p>
          <a:p>
            <a:pPr algn="ctr" defTabSz="457322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apcsolatok globális rendszerekhez</a:t>
            </a:r>
          </a:p>
          <a:p>
            <a:pPr algn="ctr" defTabSz="457322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Minták és klaszterek</a:t>
            </a:r>
          </a:p>
          <a:p>
            <a:pPr algn="ctr" defTabSz="457322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Osztályozás és csoportba sorolás módszereinek fejlesztése</a:t>
            </a:r>
          </a:p>
          <a:p>
            <a:pPr algn="ctr" defTabSz="457322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Szabványos nevezéktanok, ontológiák, szótárak</a:t>
            </a:r>
          </a:p>
          <a:p>
            <a:pPr algn="ctr" defTabSz="457322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Rendszer céljának, a bemeneti és kimeneti adatok meghatározása</a:t>
            </a:r>
          </a:p>
          <a:p>
            <a:pPr algn="ctr" defTabSz="457322" fontAlgn="base">
              <a:lnSpc>
                <a:spcPct val="15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>
                <a:solidFill>
                  <a:schemeClr val="bg1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Használói visszajelzések becsatolása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270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86543" y="174272"/>
            <a:ext cx="9699668" cy="588082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mantikus adatmodellek – a mesterséges intelligencia osztályozásához</a:t>
            </a:r>
            <a: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3</a:t>
            </a:fld>
            <a:endParaRPr lang="en-US" dirty="0"/>
          </a:p>
        </p:txBody>
      </p:sp>
      <p:sp>
        <p:nvSpPr>
          <p:cNvPr id="6" name="Tartalom helye 5"/>
          <p:cNvSpPr>
            <a:spLocks noGrp="1"/>
          </p:cNvSpPr>
          <p:nvPr>
            <p:ph sz="half" idx="1"/>
          </p:nvPr>
        </p:nvSpPr>
        <p:spPr>
          <a:xfrm>
            <a:off x="208993" y="1215703"/>
            <a:ext cx="4576763" cy="5704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leírás alapegysége nem a rekord, hanem az adat – </a:t>
            </a:r>
            <a:r>
              <a:rPr lang="hu-HU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nked </a:t>
            </a:r>
            <a:r>
              <a:rPr lang="hu-HU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adathálók, tudás gráfo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datmodell-készítés főbb lépései:</a:t>
            </a:r>
          </a:p>
          <a:p>
            <a:pPr marL="538163" lvl="2" indent="-363538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modell osztályok </a:t>
            </a:r>
          </a:p>
          <a:p>
            <a:pPr marL="538163" lvl="2" indent="-363538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ok azonosítókkal </a:t>
            </a:r>
          </a:p>
          <a:p>
            <a:pPr marL="1114235" lvl="3" indent="-363538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I tervezés (</a:t>
            </a:r>
            <a:r>
              <a:rPr lang="hu-HU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fied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er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Egységes forrásazonosító)</a:t>
            </a:r>
          </a:p>
          <a:p>
            <a:pPr marL="538163" lvl="2" indent="-363538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difikált adatok, MARC és RDF transzformációk, adatbővítés</a:t>
            </a:r>
          </a:p>
          <a:p>
            <a:pPr marL="538163" lvl="2" indent="-363538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tológiák, adatszótárak</a:t>
            </a:r>
          </a:p>
          <a:p>
            <a:pPr marL="538163" lvl="2" indent="-363538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datmodell tervezéshez, az osztályok és tulajdonságok meghatározásához </a:t>
            </a:r>
            <a:endParaRPr lang="hu-H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8163" lvl="2" indent="-363538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galmak, kapcsolatok, leírások adatmanipuláció szabályozá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artalom helye 7"/>
          <p:cNvSpPr>
            <a:spLocks noGrp="1"/>
          </p:cNvSpPr>
          <p:nvPr>
            <p:ph sz="half" idx="2"/>
          </p:nvPr>
        </p:nvSpPr>
        <p:spPr>
          <a:xfrm>
            <a:off x="5207626" y="1215703"/>
            <a:ext cx="4554612" cy="3961939"/>
          </a:xfrm>
          <a:prstGeom prst="rect">
            <a:avLst/>
          </a:prstGeom>
          <a:solidFill>
            <a:srgbClr val="1E377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b="1" dirty="0">
                <a:latin typeface="Arial" panose="020B0604020202020204" pitchFamily="34" charset="0"/>
                <a:cs typeface="Arial" panose="020B0604020202020204" pitchFamily="34" charset="0"/>
              </a:rPr>
              <a:t>Data of web </a:t>
            </a:r>
            <a:r>
              <a:rPr lang="hu-HU" dirty="0">
                <a:latin typeface="Arial" panose="020B0604020202020204" pitchFamily="34" charset="0"/>
                <a:cs typeface="Arial" panose="020B0604020202020204" pitchFamily="34" charset="0"/>
              </a:rPr>
              <a:t> a dokumentumokra jellemző adathalmazok önállósult tömege, különböző szabványos formátumokban (pl. FRBR, RDA, RDF, SKOS, stb.).</a:t>
            </a:r>
          </a:p>
          <a:p>
            <a:pPr marL="354013" lvl="1" indent="-268288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web számára felismerhető, értelmezhető és kereshető adatok, egyszerű megnevezések és kapcsolatok (mű, személy, hely, esemény, szervezet stb.)</a:t>
            </a:r>
          </a:p>
          <a:p>
            <a:pPr marL="354013" lvl="1" indent="-268288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pcsolatok bővülése, növekedése</a:t>
            </a:r>
          </a:p>
          <a:p>
            <a:pPr marL="354013" lvl="1" indent="-268288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ódosuló, bővülő jelentéstartalmak </a:t>
            </a:r>
          </a:p>
          <a:p>
            <a:pPr marL="354013" lvl="1" indent="-268288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hu-HU" altLang="hu-H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bványos, átjárható  leíró nyelvek és sémák, gépi értelmezés lehetősége</a:t>
            </a:r>
          </a:p>
        </p:txBody>
      </p:sp>
      <p:pic>
        <p:nvPicPr>
          <p:cNvPr id="15" name="Kép 48" descr="data graphi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3308" y="5306627"/>
            <a:ext cx="2673857" cy="2038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zövegdoboz 10"/>
          <p:cNvSpPr txBox="1"/>
          <p:nvPr/>
        </p:nvSpPr>
        <p:spPr>
          <a:xfrm>
            <a:off x="5136377" y="6728316"/>
            <a:ext cx="2069432" cy="503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schema.org</a:t>
            </a: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hu-HU" sz="1400" dirty="0" err="1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BiblioGraph.net</a:t>
            </a:r>
            <a:endParaRPr 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6260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44232" y="175655"/>
            <a:ext cx="5699153" cy="588082"/>
          </a:xfrm>
        </p:spPr>
        <p:txBody>
          <a:bodyPr/>
          <a:lstStyle/>
          <a:p>
            <a:pPr marL="174625" lvl="2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Szabványos globális könyvtári rendszerek igénybe vétele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Tartalom helye 28"/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0018" y="5239970"/>
            <a:ext cx="1095715" cy="1261718"/>
          </a:xfrm>
        </p:spPr>
      </p:pic>
      <p:pic>
        <p:nvPicPr>
          <p:cNvPr id="11" name="Tartalom helye 10"/>
          <p:cNvPicPr>
            <a:picLocks noGrp="1" noChangeAspect="1"/>
          </p:cNvPicPr>
          <p:nvPr>
            <p:ph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4702" y="1164294"/>
            <a:ext cx="994879" cy="1443550"/>
          </a:xfrm>
        </p:spPr>
      </p:pic>
      <p:sp>
        <p:nvSpPr>
          <p:cNvPr id="6" name="Dia számának helye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Aft>
                  <a:spcPct val="0"/>
                </a:spcAft>
              </a:pPr>
              <a:t>34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Tartalom helye 11"/>
          <p:cNvPicPr>
            <a:picLocks noGrp="1" noChangeAspect="1"/>
          </p:cNvPicPr>
          <p:nvPr>
            <p:ph sz="half"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531104" y="2807101"/>
            <a:ext cx="1138443" cy="1112764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</p:pic>
      <p:sp>
        <p:nvSpPr>
          <p:cNvPr id="9" name="Lekerekített téglalap 8"/>
          <p:cNvSpPr/>
          <p:nvPr/>
        </p:nvSpPr>
        <p:spPr bwMode="gray">
          <a:xfrm>
            <a:off x="219697" y="1473341"/>
            <a:ext cx="1454357" cy="1414280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6" descr="Képtalálat a következőre: „István király”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811" y="1570061"/>
            <a:ext cx="1122853" cy="1237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zövegdoboz 14"/>
          <p:cNvSpPr txBox="1"/>
          <p:nvPr/>
        </p:nvSpPr>
        <p:spPr>
          <a:xfrm>
            <a:off x="6435790" y="4264474"/>
            <a:ext cx="1733597" cy="567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  <a:hlinkClick r:id="rId7" tooltip="Esztergom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Esztergomot</a:t>
            </a: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</a:t>
            </a: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  <a:hlinkClick r:id="rId8" tooltip="Székesfehérvár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Székesfehérvárt</a:t>
            </a:r>
            <a:endParaRPr lang="hu-HU" sz="1600" b="1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17" name="Szövegdoboz 16"/>
          <p:cNvSpPr txBox="1"/>
          <p:nvPr/>
        </p:nvSpPr>
        <p:spPr>
          <a:xfrm>
            <a:off x="2258000" y="1354960"/>
            <a:ext cx="1980073" cy="311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Felesége: Gizella</a:t>
            </a:r>
          </a:p>
        </p:txBody>
      </p:sp>
      <p:cxnSp>
        <p:nvCxnSpPr>
          <p:cNvPr id="19" name="Egyenes összekötő 18"/>
          <p:cNvCxnSpPr/>
          <p:nvPr/>
        </p:nvCxnSpPr>
        <p:spPr>
          <a:xfrm>
            <a:off x="1766435" y="1709017"/>
            <a:ext cx="2581552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Egyenes összekötő 21"/>
          <p:cNvCxnSpPr/>
          <p:nvPr/>
        </p:nvCxnSpPr>
        <p:spPr>
          <a:xfrm>
            <a:off x="1732983" y="1846782"/>
            <a:ext cx="2079685" cy="894953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Szövegdoboz 24"/>
          <p:cNvSpPr txBox="1"/>
          <p:nvPr/>
        </p:nvSpPr>
        <p:spPr>
          <a:xfrm>
            <a:off x="2302179" y="2320039"/>
            <a:ext cx="1794984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pja: Géza </a:t>
            </a:r>
            <a:r>
              <a:rPr lang="hu-HU" sz="1600" b="1" dirty="0" smtClean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fejedelem</a:t>
            </a:r>
            <a:endParaRPr lang="hu-HU" sz="1600" b="1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26" name="Szövegdoboz 25"/>
          <p:cNvSpPr txBox="1"/>
          <p:nvPr/>
        </p:nvSpPr>
        <p:spPr>
          <a:xfrm>
            <a:off x="1952195" y="6109244"/>
            <a:ext cx="2203406" cy="687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Zeneszerző: 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Erkel Ferenc</a:t>
            </a:r>
          </a:p>
        </p:txBody>
      </p:sp>
      <p:cxnSp>
        <p:nvCxnSpPr>
          <p:cNvPr id="27" name="Egyenes összekötő 26"/>
          <p:cNvCxnSpPr/>
          <p:nvPr/>
        </p:nvCxnSpPr>
        <p:spPr>
          <a:xfrm>
            <a:off x="1749685" y="1863702"/>
            <a:ext cx="1666289" cy="3077553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3" name="Kép 3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5186" y="4190709"/>
            <a:ext cx="1284997" cy="856129"/>
          </a:xfrm>
          <a:prstGeom prst="rect">
            <a:avLst/>
          </a:prstGeom>
        </p:spPr>
      </p:pic>
      <p:pic>
        <p:nvPicPr>
          <p:cNvPr id="646146" name="Picture 2" descr="German National Library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77065188"/>
            <a:ext cx="1524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Szövegdoboz 34"/>
          <p:cNvSpPr txBox="1"/>
          <p:nvPr/>
        </p:nvSpPr>
        <p:spPr>
          <a:xfrm>
            <a:off x="3151935" y="3940291"/>
            <a:ext cx="3006995" cy="28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hu-HU" altLang="hu-HU" sz="1400" dirty="0">
                <a:solidFill>
                  <a:srgbClr val="1E377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VIAF ID: 72498726 (</a:t>
            </a:r>
            <a:r>
              <a:rPr lang="hu-HU" altLang="hu-HU" sz="1400" dirty="0" err="1">
                <a:solidFill>
                  <a:srgbClr val="1E377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Personal</a:t>
            </a:r>
            <a:r>
              <a:rPr lang="hu-HU" altLang="hu-HU" sz="1400" dirty="0">
                <a:solidFill>
                  <a:srgbClr val="1E377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) </a:t>
            </a:r>
          </a:p>
        </p:txBody>
      </p:sp>
      <p:sp>
        <p:nvSpPr>
          <p:cNvPr id="37" name="Téglalap 36"/>
          <p:cNvSpPr/>
          <p:nvPr/>
        </p:nvSpPr>
        <p:spPr>
          <a:xfrm>
            <a:off x="3151297" y="4162866"/>
            <a:ext cx="31781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hu-HU" altLang="hu-HU" sz="1400" dirty="0">
                <a:solidFill>
                  <a:srgbClr val="1E377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URI: </a:t>
            </a:r>
            <a:r>
              <a:rPr lang="hu-HU" altLang="hu-HU" sz="1400" dirty="0">
                <a:solidFill>
                  <a:srgbClr val="1E377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  <a:hlinkClick r:id="rId11"/>
              </a:rPr>
              <a:t>http://viaf.org/viaf/72498726</a:t>
            </a:r>
            <a:r>
              <a:rPr lang="hu-HU" altLang="hu-HU" sz="1400" dirty="0">
                <a:solidFill>
                  <a:srgbClr val="1E377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2" name="Szövegdoboz 41"/>
          <p:cNvSpPr txBox="1"/>
          <p:nvPr/>
        </p:nvSpPr>
        <p:spPr>
          <a:xfrm>
            <a:off x="5995582" y="162830"/>
            <a:ext cx="5091702" cy="34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pic>
        <p:nvPicPr>
          <p:cNvPr id="40" name="Kép 39"/>
          <p:cNvPicPr>
            <a:picLocks noChangeAspect="1"/>
          </p:cNvPicPr>
          <p:nvPr/>
        </p:nvPicPr>
        <p:blipFill rotWithShape="1">
          <a:blip r:embed="rId12"/>
          <a:srcRect l="4463" t="13013" r="56466" b="5159"/>
          <a:stretch/>
        </p:blipFill>
        <p:spPr>
          <a:xfrm>
            <a:off x="6638638" y="479246"/>
            <a:ext cx="2908427" cy="3424695"/>
          </a:xfrm>
          <a:prstGeom prst="rect">
            <a:avLst/>
          </a:prstGeom>
        </p:spPr>
      </p:pic>
      <p:cxnSp>
        <p:nvCxnSpPr>
          <p:cNvPr id="43" name="Egyenes összekötő 42"/>
          <p:cNvCxnSpPr/>
          <p:nvPr/>
        </p:nvCxnSpPr>
        <p:spPr>
          <a:xfrm>
            <a:off x="4722559" y="3170407"/>
            <a:ext cx="1679190" cy="1076046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Egyenes összekötő 44"/>
          <p:cNvCxnSpPr>
            <a:cxnSpLocks/>
          </p:cNvCxnSpPr>
          <p:nvPr/>
        </p:nvCxnSpPr>
        <p:spPr>
          <a:xfrm>
            <a:off x="7248165" y="4832056"/>
            <a:ext cx="820334" cy="21805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Egyenes összekötő 49"/>
          <p:cNvCxnSpPr>
            <a:cxnSpLocks/>
          </p:cNvCxnSpPr>
          <p:nvPr/>
        </p:nvCxnSpPr>
        <p:spPr>
          <a:xfrm>
            <a:off x="7255028" y="4841591"/>
            <a:ext cx="1023811" cy="1315153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Szövegdoboz 51"/>
          <p:cNvSpPr txBox="1"/>
          <p:nvPr/>
        </p:nvSpPr>
        <p:spPr>
          <a:xfrm>
            <a:off x="104000" y="3301672"/>
            <a:ext cx="2701498" cy="2629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stván király – uralkodó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stván király Intelmei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stván király halála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stván király szentté avatása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stván király szálloda, Pécsvárad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stván király Gimnázium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stván király szobra, alkotója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stván király opera</a:t>
            </a:r>
          </a:p>
        </p:txBody>
      </p:sp>
      <p:sp>
        <p:nvSpPr>
          <p:cNvPr id="57" name="Szövegdoboz 56"/>
          <p:cNvSpPr txBox="1"/>
          <p:nvPr/>
        </p:nvSpPr>
        <p:spPr>
          <a:xfrm>
            <a:off x="2372624" y="3305012"/>
            <a:ext cx="1405139" cy="8236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Fia, Imre herceg halála</a:t>
            </a:r>
          </a:p>
        </p:txBody>
      </p:sp>
      <p:sp>
        <p:nvSpPr>
          <p:cNvPr id="69" name="Szövegdoboz 68"/>
          <p:cNvSpPr txBox="1"/>
          <p:nvPr/>
        </p:nvSpPr>
        <p:spPr>
          <a:xfrm>
            <a:off x="4289338" y="5170379"/>
            <a:ext cx="3201218" cy="505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  <a:hlinkClick r:id="rId13"/>
              </a:rPr>
              <a:t>http://www.konyv-e.hu/pdf/Chronica_Picta.pdf</a:t>
            </a: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400" dirty="0">
                <a:latin typeface="Arial" panose="020B0604020202020204" pitchFamily="34" charset="0"/>
                <a:cs typeface="Arial" panose="020B0604020202020204" pitchFamily="34" charset="0"/>
                <a:hlinkClick r:id="rId14"/>
              </a:rPr>
              <a:t>OSZK</a:t>
            </a:r>
            <a:endParaRPr lang="hu-HU" sz="1400" dirty="0"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pic>
        <p:nvPicPr>
          <p:cNvPr id="71" name="Kép 70" descr="https://upload.wikimedia.org/wikipedia/commons/6/6a/Imrich_stepan.jpg"/>
          <p:cNvPicPr/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9482" y="4832056"/>
            <a:ext cx="869315" cy="900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6151" name="Egyenes összekötő 646150"/>
          <p:cNvCxnSpPr/>
          <p:nvPr/>
        </p:nvCxnSpPr>
        <p:spPr>
          <a:xfrm flipV="1">
            <a:off x="1966550" y="6418947"/>
            <a:ext cx="1182473" cy="622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46152" name="Kép 646151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7284" y="6160019"/>
            <a:ext cx="905061" cy="1029142"/>
          </a:xfrm>
          <a:prstGeom prst="rect">
            <a:avLst/>
          </a:prstGeom>
        </p:spPr>
      </p:pic>
      <p:cxnSp>
        <p:nvCxnSpPr>
          <p:cNvPr id="75" name="Egyenes összekötő 74"/>
          <p:cNvCxnSpPr/>
          <p:nvPr/>
        </p:nvCxnSpPr>
        <p:spPr>
          <a:xfrm flipV="1">
            <a:off x="4915754" y="6459724"/>
            <a:ext cx="1182473" cy="6221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Szövegdoboz 75"/>
          <p:cNvSpPr txBox="1"/>
          <p:nvPr/>
        </p:nvSpPr>
        <p:spPr>
          <a:xfrm>
            <a:off x="4473857" y="6059980"/>
            <a:ext cx="2071756" cy="1320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Festmény alkotója </a:t>
            </a: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Barabás Miklós</a:t>
            </a:r>
          </a:p>
        </p:txBody>
      </p:sp>
      <p:pic>
        <p:nvPicPr>
          <p:cNvPr id="646155" name="Kép 64615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0820" y="5894479"/>
            <a:ext cx="908433" cy="1459170"/>
          </a:xfrm>
          <a:prstGeom prst="rect">
            <a:avLst/>
          </a:prstGeom>
        </p:spPr>
      </p:pic>
      <p:sp>
        <p:nvSpPr>
          <p:cNvPr id="82" name="Szövegdoboz 81"/>
          <p:cNvSpPr txBox="1"/>
          <p:nvPr/>
        </p:nvSpPr>
        <p:spPr>
          <a:xfrm>
            <a:off x="7697830" y="6720477"/>
            <a:ext cx="2329759" cy="567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leki László 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  <a:hlinkClick r:id="rId18" tooltip="1861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1861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ben (festmény) </a:t>
            </a:r>
            <a:endParaRPr lang="hu-HU" sz="16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91" name="Szövegdoboz 90"/>
          <p:cNvSpPr txBox="1"/>
          <p:nvPr/>
        </p:nvSpPr>
        <p:spPr>
          <a:xfrm>
            <a:off x="5085990" y="3602316"/>
            <a:ext cx="1683277" cy="311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lapította</a:t>
            </a:r>
          </a:p>
        </p:txBody>
      </p:sp>
      <p:sp>
        <p:nvSpPr>
          <p:cNvPr id="646166" name="Téglalap 646165"/>
          <p:cNvSpPr/>
          <p:nvPr/>
        </p:nvSpPr>
        <p:spPr>
          <a:xfrm>
            <a:off x="7784401" y="568570"/>
            <a:ext cx="2224365" cy="317009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hu-HU" sz="32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VIAF</a:t>
            </a:r>
          </a:p>
          <a:p>
            <a:pPr algn="ctr"/>
            <a:r>
              <a:rPr lang="hu-HU" sz="2800" b="1" dirty="0" err="1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lusterek</a:t>
            </a:r>
            <a:endParaRPr lang="hu-HU" sz="2800" b="1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hu-HU" sz="2800" b="1" cap="none" spc="0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Géza névre</a:t>
            </a:r>
          </a:p>
          <a:p>
            <a:pPr algn="ctr"/>
            <a:r>
              <a:rPr lang="hu-HU" sz="28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SNI </a:t>
            </a:r>
          </a:p>
          <a:p>
            <a:pPr algn="ctr"/>
            <a:r>
              <a:rPr lang="hu-HU" sz="28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nemzeti </a:t>
            </a:r>
          </a:p>
          <a:p>
            <a:pPr algn="ctr"/>
            <a:r>
              <a:rPr lang="hu-HU" sz="28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könyvtári </a:t>
            </a:r>
          </a:p>
          <a:p>
            <a:pPr algn="ctr"/>
            <a:r>
              <a:rPr lang="hu-HU" sz="2800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linkekkel</a:t>
            </a:r>
            <a:endParaRPr lang="hu-HU" sz="2800" b="1" cap="none" spc="0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solidFill>
                <a:schemeClr val="tx2"/>
              </a:solid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990" y="932963"/>
            <a:ext cx="2018611" cy="386543"/>
          </a:xfrm>
          <a:prstGeom prst="rect">
            <a:avLst/>
          </a:prstGeom>
        </p:spPr>
      </p:pic>
      <p:sp>
        <p:nvSpPr>
          <p:cNvPr id="5" name="Jobbra nyíl 4"/>
          <p:cNvSpPr/>
          <p:nvPr/>
        </p:nvSpPr>
        <p:spPr bwMode="gray">
          <a:xfrm>
            <a:off x="5492500" y="1275078"/>
            <a:ext cx="987652" cy="928488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F</a:t>
            </a:r>
          </a:p>
        </p:txBody>
      </p:sp>
      <p:sp>
        <p:nvSpPr>
          <p:cNvPr id="44" name="Jobbra nyíl 43"/>
          <p:cNvSpPr/>
          <p:nvPr/>
        </p:nvSpPr>
        <p:spPr bwMode="gray">
          <a:xfrm>
            <a:off x="5520340" y="2595951"/>
            <a:ext cx="959812" cy="928565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NI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4289033" y="4859618"/>
            <a:ext cx="1804094" cy="341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épes Krónika</a:t>
            </a:r>
          </a:p>
        </p:txBody>
      </p:sp>
      <p:cxnSp>
        <p:nvCxnSpPr>
          <p:cNvPr id="23" name="Egyenes összekötő nyíllal 22"/>
          <p:cNvCxnSpPr/>
          <p:nvPr/>
        </p:nvCxnSpPr>
        <p:spPr>
          <a:xfrm flipH="1" flipV="1">
            <a:off x="4500364" y="6634913"/>
            <a:ext cx="1006627" cy="392699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Egyenes összekötő nyíllal 30"/>
          <p:cNvCxnSpPr/>
          <p:nvPr/>
        </p:nvCxnSpPr>
        <p:spPr>
          <a:xfrm flipV="1">
            <a:off x="5562154" y="6674590"/>
            <a:ext cx="1021506" cy="380794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Egyenes összekötő nyíllal 7"/>
          <p:cNvCxnSpPr/>
          <p:nvPr/>
        </p:nvCxnSpPr>
        <p:spPr>
          <a:xfrm flipH="1">
            <a:off x="457200" y="3002188"/>
            <a:ext cx="235131" cy="233863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nyíllal 13"/>
          <p:cNvCxnSpPr/>
          <p:nvPr/>
        </p:nvCxnSpPr>
        <p:spPr>
          <a:xfrm>
            <a:off x="901337" y="3002188"/>
            <a:ext cx="0" cy="30241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Egyenes összekötő nyíllal 48"/>
          <p:cNvCxnSpPr/>
          <p:nvPr/>
        </p:nvCxnSpPr>
        <p:spPr>
          <a:xfrm>
            <a:off x="1088571" y="2999256"/>
            <a:ext cx="0" cy="30241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Egyenes összekötő nyíllal 50"/>
          <p:cNvCxnSpPr/>
          <p:nvPr/>
        </p:nvCxnSpPr>
        <p:spPr>
          <a:xfrm>
            <a:off x="1336765" y="3019199"/>
            <a:ext cx="0" cy="30241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Egyenes összekötő nyíllal 19"/>
          <p:cNvCxnSpPr/>
          <p:nvPr/>
        </p:nvCxnSpPr>
        <p:spPr>
          <a:xfrm>
            <a:off x="1674054" y="2999256"/>
            <a:ext cx="233123" cy="30241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759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7688" y="229478"/>
            <a:ext cx="9783689" cy="706432"/>
          </a:xfrm>
        </p:spPr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Kooperáció – nemzeti és globális adatmenedzsment </a:t>
            </a:r>
            <a:b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6557925" y="5638246"/>
            <a:ext cx="2420327" cy="29270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223236" indent="-223236">
              <a:spcAft>
                <a:spcPts val="372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hu-HU" sz="1902" dirty="0"/>
          </a:p>
        </p:txBody>
      </p:sp>
      <p:pic>
        <p:nvPicPr>
          <p:cNvPr id="14" name="Kép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0087" y="694698"/>
            <a:ext cx="2616611" cy="1019307"/>
          </a:xfrm>
          <a:prstGeom prst="rect">
            <a:avLst/>
          </a:prstGeom>
        </p:spPr>
      </p:pic>
      <p:pic>
        <p:nvPicPr>
          <p:cNvPr id="18" name="Kép 17"/>
          <p:cNvPicPr/>
          <p:nvPr/>
        </p:nvPicPr>
        <p:blipFill rotWithShape="1">
          <a:blip r:embed="rId4"/>
          <a:srcRect l="3578" t="6949" r="54393" b="6365"/>
          <a:stretch/>
        </p:blipFill>
        <p:spPr bwMode="auto">
          <a:xfrm>
            <a:off x="8149149" y="1459511"/>
            <a:ext cx="1687604" cy="15622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" name="Kép 19" descr="WIKIBASE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064" y="1594185"/>
            <a:ext cx="1382395" cy="92710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églalap 8"/>
          <p:cNvSpPr/>
          <p:nvPr/>
        </p:nvSpPr>
        <p:spPr>
          <a:xfrm>
            <a:off x="5266525" y="5280870"/>
            <a:ext cx="288795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800" b="1" dirty="0" err="1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ikibase</a:t>
            </a:r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 </a:t>
            </a:r>
            <a:r>
              <a:rPr lang="hu-HU" sz="1800" b="1" dirty="0" err="1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Reposit</a:t>
            </a:r>
            <a:endParaRPr lang="hu-H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7768088" y="5280870"/>
            <a:ext cx="18882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b="1" dirty="0" err="1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ikibase</a:t>
            </a:r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 </a:t>
            </a:r>
            <a:r>
              <a:rPr lang="hu-HU" sz="1800" b="1" dirty="0" err="1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Client</a:t>
            </a:r>
            <a:endParaRPr lang="hu-H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Kép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7015" y="753770"/>
            <a:ext cx="1551871" cy="506045"/>
          </a:xfrm>
          <a:prstGeom prst="rect">
            <a:avLst/>
          </a:prstGeom>
        </p:spPr>
      </p:pic>
      <p:sp>
        <p:nvSpPr>
          <p:cNvPr id="22" name="Szövegdoboz 21"/>
          <p:cNvSpPr txBox="1"/>
          <p:nvPr/>
        </p:nvSpPr>
        <p:spPr>
          <a:xfrm>
            <a:off x="177689" y="1154988"/>
            <a:ext cx="4929090" cy="399148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Cat</a:t>
            </a:r>
            <a:r>
              <a:rPr lang="hu-HU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ilágkatalógus </a:t>
            </a: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,3 milliárd rekord, a világon a legnagyobb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5737">
              <a:lnSpc>
                <a:spcPct val="107000"/>
              </a:lnSpc>
              <a:spcAft>
                <a:spcPts val="661"/>
              </a:spcAft>
            </a:pP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kális szerep a globális tudásmegosztásban, 20 milliárd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iplets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5737">
              <a:lnSpc>
                <a:spcPct val="107000"/>
              </a:lnSpc>
              <a:spcAft>
                <a:spcPts val="661"/>
              </a:spcAft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Összekapcsolja a világ könyvtárainak rekord- és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thority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datait  VI</a:t>
            </a:r>
            <a:r>
              <a:rPr lang="hu-HU" sz="1800" i="1" dirty="0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F, ID Network, ISNI, </a:t>
            </a:r>
            <a:r>
              <a:rPr lang="hu-HU" sz="1800" i="1" dirty="0" err="1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kidata</a:t>
            </a:r>
            <a:r>
              <a:rPr lang="hu-HU" sz="1800" i="1" dirty="0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542925" indent="-357188">
              <a:lnSpc>
                <a:spcPct val="107000"/>
              </a:lnSpc>
              <a:spcAft>
                <a:spcPts val="661"/>
              </a:spcAft>
              <a:buFont typeface="Arial" panose="020B0604020202020204" pitchFamily="34" charset="0"/>
              <a:buChar char="•"/>
            </a:pPr>
            <a:r>
              <a:rPr lang="hu-HU" sz="1800" i="1" dirty="0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tomatizált munkafolyamatok, kooperatív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orkflow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rekordmenedzsment </a:t>
            </a:r>
          </a:p>
          <a:p>
            <a:pPr marL="542925" lvl="1" indent="-357188">
              <a:lnSpc>
                <a:spcPts val="1800"/>
              </a:lnSpc>
              <a:spcAft>
                <a:spcPts val="661"/>
              </a:spcAft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tegrált platformon további rendszerek alaprendszereként elemző, értékelő, összegző funkciók</a:t>
            </a: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23" name="Téglalap 22"/>
          <p:cNvSpPr/>
          <p:nvPr/>
        </p:nvSpPr>
        <p:spPr>
          <a:xfrm>
            <a:off x="177688" y="5280870"/>
            <a:ext cx="40179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 err="1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WorldCat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 Discovery Services</a:t>
            </a:r>
            <a:endParaRPr lang="hu-HU" sz="1800" b="1" dirty="0">
              <a:latin typeface="Arial" panose="020B0604020202020204" pitchFamily="34" charset="0"/>
              <a:cs typeface="Arial" panose="020B0604020202020204" pitchFamily="34" charset="0"/>
              <a:hlinkClick r:id="rId8"/>
            </a:endParaRPr>
          </a:p>
        </p:txBody>
      </p:sp>
      <p:sp>
        <p:nvSpPr>
          <p:cNvPr id="24" name="Szövegdoboz 23"/>
          <p:cNvSpPr txBox="1"/>
          <p:nvPr/>
        </p:nvSpPr>
        <p:spPr>
          <a:xfrm>
            <a:off x="5266525" y="3299380"/>
            <a:ext cx="4525899" cy="1839725"/>
          </a:xfrm>
          <a:prstGeom prst="rect">
            <a:avLst/>
          </a:prstGeom>
          <a:noFill/>
          <a:ln w="9525">
            <a:solidFill>
              <a:srgbClr val="1E3770"/>
            </a:solidFill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tmodellek, tudásmegosztás, többnyelvűség –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Cat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áttérrel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8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nciliation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rvice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kapcsolódás meglévő linked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ntitásokhoz</a:t>
            </a:r>
            <a:b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tor service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linked </a:t>
            </a:r>
            <a:r>
              <a:rPr lang="hu-HU" sz="18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kapcsolataik szerkesztése</a:t>
            </a:r>
            <a:endParaRPr lang="hu-HU" sz="1800" dirty="0">
              <a:solidFill>
                <a:srgbClr val="1E3770"/>
              </a:solidFill>
              <a:ea typeface="Swagger" pitchFamily="2" charset="0"/>
            </a:endParaRPr>
          </a:p>
        </p:txBody>
      </p:sp>
      <p:pic>
        <p:nvPicPr>
          <p:cNvPr id="28" name="Kép 27" descr="https://www.oclc.org/content/dam/research/images/Themes/linked-data.png">
            <a:hlinkClick r:id="rId9"/>
          </p:cNvPr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6525" y="5708350"/>
            <a:ext cx="4525899" cy="1694815"/>
          </a:xfrm>
          <a:prstGeom prst="rect">
            <a:avLst/>
          </a:prstGeom>
          <a:noFill/>
          <a:ln>
            <a:noFill/>
          </a:ln>
        </p:spPr>
      </p:pic>
      <p:sp>
        <p:nvSpPr>
          <p:cNvPr id="30" name="Lekerekített téglalap 29"/>
          <p:cNvSpPr/>
          <p:nvPr/>
        </p:nvSpPr>
        <p:spPr bwMode="gray">
          <a:xfrm>
            <a:off x="6377361" y="2581728"/>
            <a:ext cx="1038262" cy="517133"/>
          </a:xfrm>
          <a:prstGeom prst="round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4" name="Jobbra nyíl 3"/>
          <p:cNvSpPr/>
          <p:nvPr/>
        </p:nvSpPr>
        <p:spPr bwMode="gray">
          <a:xfrm>
            <a:off x="5266525" y="1992281"/>
            <a:ext cx="573780" cy="679336"/>
          </a:xfrm>
          <a:prstGeom prst="rightArrow">
            <a:avLst/>
          </a:prstGeom>
          <a:solidFill>
            <a:srgbClr val="E20074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177688" y="5784600"/>
            <a:ext cx="4929090" cy="64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Calibri" panose="020F0502020204030204" pitchFamily="34" charset="0"/>
                <a:ea typeface="Swagger" pitchFamily="2" charset="0"/>
              </a:rPr>
              <a:t>Egy kereséssel egy milliárdnál több elektronikus, digitális és nyomtatott forrás elérése</a:t>
            </a:r>
          </a:p>
        </p:txBody>
      </p:sp>
    </p:spTree>
    <p:extLst>
      <p:ext uri="{BB962C8B-B14F-4D97-AF65-F5344CB8AC3E}">
        <p14:creationId xmlns:p14="http://schemas.microsoft.com/office/powerpoint/2010/main" val="248026153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800" dirty="0">
                <a:solidFill>
                  <a:srgbClr val="E20074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nternet of </a:t>
            </a:r>
            <a:r>
              <a:rPr lang="hu-HU" sz="2800" dirty="0" err="1">
                <a:solidFill>
                  <a:srgbClr val="E20074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hings</a:t>
            </a:r>
            <a:r>
              <a:rPr lang="hu-HU" sz="2800" dirty="0">
                <a:solidFill>
                  <a:srgbClr val="E20074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(</a:t>
            </a:r>
            <a:r>
              <a:rPr lang="hu-HU" sz="2800" dirty="0" err="1">
                <a:solidFill>
                  <a:srgbClr val="E20074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IoT</a:t>
            </a:r>
            <a:r>
              <a:rPr lang="hu-HU" sz="2800" dirty="0">
                <a:solidFill>
                  <a:srgbClr val="E20074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) – </a:t>
            </a:r>
            <a:r>
              <a:rPr lang="hu-HU" sz="2400" b="1" dirty="0">
                <a:solidFill>
                  <a:srgbClr val="E20074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egy új hálózati „</a:t>
            </a:r>
            <a:r>
              <a:rPr lang="hu-HU" sz="2400" b="1" dirty="0" err="1">
                <a:solidFill>
                  <a:srgbClr val="E20074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second</a:t>
            </a:r>
            <a:r>
              <a:rPr lang="hu-HU" sz="2400" b="1" dirty="0">
                <a:solidFill>
                  <a:srgbClr val="E20074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life”?</a:t>
            </a:r>
          </a:p>
        </p:txBody>
      </p:sp>
      <p:pic>
        <p:nvPicPr>
          <p:cNvPr id="5" name="Tartalom helye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450" y="1080405"/>
            <a:ext cx="2202999" cy="1427523"/>
          </a:xfrm>
        </p:spPr>
      </p:pic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6</a:t>
            </a:fld>
            <a:endParaRPr lang="en-US" dirty="0"/>
          </a:p>
        </p:txBody>
      </p:sp>
      <p:sp>
        <p:nvSpPr>
          <p:cNvPr id="7" name="Téglalap 6"/>
          <p:cNvSpPr/>
          <p:nvPr/>
        </p:nvSpPr>
        <p:spPr>
          <a:xfrm>
            <a:off x="5111749" y="5167001"/>
            <a:ext cx="4612913" cy="181588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szelídített adattenger : 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Az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ilágában szenzorok tömegéből nyert adatok automatikus tárolásával, keresésével,  elemzésével gyorsan jutunk információkhoz. </a:t>
            </a:r>
          </a:p>
          <a:p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z adatok továbbításán túl magába foglalja az adatokra épülő analitikai megoldásokat is</a:t>
            </a:r>
            <a:endParaRPr lang="hu-HU" sz="1600" dirty="0">
              <a:solidFill>
                <a:srgbClr val="1E377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pic>
        <p:nvPicPr>
          <p:cNvPr id="8" name="Tartalom hely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0136" y="810946"/>
            <a:ext cx="5140490" cy="3667299"/>
          </a:xfrm>
          <a:prstGeom prst="rect">
            <a:avLst/>
          </a:prstGeom>
        </p:spPr>
      </p:pic>
      <p:sp>
        <p:nvSpPr>
          <p:cNvPr id="3" name="Szövegdoboz 2"/>
          <p:cNvSpPr txBox="1"/>
          <p:nvPr/>
        </p:nvSpPr>
        <p:spPr>
          <a:xfrm>
            <a:off x="220553" y="3107709"/>
            <a:ext cx="4410823" cy="36003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égponti eszközök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zenzorok,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FID-címkék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kamerák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utós fedélzeti egység </a:t>
            </a:r>
            <a:r>
              <a:rPr lang="hu-HU" sz="1600" b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teway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eszközök közötti átjárá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álózat : 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összegyűjtött adatok eljuttatása a tároló és feldolgozó hely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fészek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A hálózaton beérkezett adatok értelmezése és egységesítés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ároló rendszere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dolgozás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nalitikai zó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végponti eszközökből begyűjtött információk elemzése, utasítások kiadása, analitikai zó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6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jelenítés</a:t>
            </a:r>
            <a:r>
              <a:rPr lang="hu-HU" sz="16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kommunikációs rendszer, interaktivitás</a:t>
            </a:r>
            <a:endParaRPr lang="hu-HU" sz="1600" dirty="0">
              <a:solidFill>
                <a:srgbClr val="1E3770"/>
              </a:solidFill>
              <a:ea typeface="Swagger" pitchFamily="2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516450" y="2637885"/>
            <a:ext cx="2846204" cy="490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800" dirty="0" err="1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oT</a:t>
            </a:r>
            <a:r>
              <a:rPr lang="hu-HU" sz="2800" dirty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rétegek:</a:t>
            </a:r>
          </a:p>
        </p:txBody>
      </p:sp>
      <p:sp>
        <p:nvSpPr>
          <p:cNvPr id="6" name="Szövegdoboz 5"/>
          <p:cNvSpPr txBox="1"/>
          <p:nvPr/>
        </p:nvSpPr>
        <p:spPr>
          <a:xfrm>
            <a:off x="5714711" y="4498180"/>
            <a:ext cx="3591339" cy="648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ea typeface="Swagger" pitchFamily="2" charset="0"/>
              </a:rPr>
              <a:t>Okos </a:t>
            </a:r>
            <a:r>
              <a:rPr lang="hu-HU" sz="1800" dirty="0" err="1">
                <a:solidFill>
                  <a:srgbClr val="1E3770"/>
                </a:solidFill>
                <a:ea typeface="Swagger" pitchFamily="2" charset="0"/>
              </a:rPr>
              <a:t>IoT</a:t>
            </a:r>
            <a:r>
              <a:rPr lang="hu-HU" sz="1800" dirty="0">
                <a:solidFill>
                  <a:srgbClr val="1E3770"/>
                </a:solidFill>
                <a:ea typeface="Swagger" pitchFamily="2" charset="0"/>
              </a:rPr>
              <a:t> campus sémája központi adattárolóval és </a:t>
            </a:r>
            <a:r>
              <a:rPr lang="hu-HU" sz="1800" dirty="0" err="1">
                <a:solidFill>
                  <a:srgbClr val="1E3770"/>
                </a:solidFill>
                <a:ea typeface="Swagger" pitchFamily="2" charset="0"/>
              </a:rPr>
              <a:t>dashboarddal</a:t>
            </a:r>
            <a:endParaRPr lang="hu-HU" sz="1800" dirty="0">
              <a:solidFill>
                <a:srgbClr val="1E3770"/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226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86543" y="102401"/>
            <a:ext cx="9398795" cy="728891"/>
          </a:xfrm>
        </p:spPr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Intelligens rendszerek fejlődési irányai (Gartner)</a:t>
            </a:r>
            <a:b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7</a:t>
            </a:fld>
            <a:endParaRPr lang="en-US" dirty="0"/>
          </a:p>
        </p:txBody>
      </p:sp>
      <p:pic>
        <p:nvPicPr>
          <p:cNvPr id="5" name="Tartalom helye 4" descr="https://blogs.gartner.com/smarterwithgartner/files/2017/09/PR_312654_SWGInfographic_Top-10-Strategic-Tech-Trends_rd3.jpg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95" y="831292"/>
            <a:ext cx="3325091" cy="526947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églalap 5"/>
          <p:cNvSpPr/>
          <p:nvPr/>
        </p:nvSpPr>
        <p:spPr>
          <a:xfrm>
            <a:off x="114695" y="6100763"/>
            <a:ext cx="30712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rgbClr val="1E377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hlinkClick r:id="rId3"/>
              </a:rPr>
              <a:t>https://www.gartner.com/smarterwithgartner/gartner-top-10-strategic-technology-trends-for-2018/</a:t>
            </a:r>
            <a:r>
              <a:rPr lang="en-US" sz="1200" dirty="0">
                <a:solidFill>
                  <a:srgbClr val="1E377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endParaRPr lang="hu-HU" sz="1200" dirty="0">
              <a:solidFill>
                <a:srgbClr val="1E3770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3747676" y="831292"/>
            <a:ext cx="5937662" cy="62592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hu-HU" sz="16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6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 foundations</a:t>
            </a:r>
            <a:r>
              <a:rPr lang="hu-HU" sz="16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alapok</a:t>
            </a:r>
            <a:r>
              <a:rPr lang="en-US" sz="16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hu-HU" sz="1600" b="1" dirty="0">
              <a:solidFill>
                <a:srgbClr val="E200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égek foglalkoznak a mesterséges intelligenciával, kérdés, hogy az emberi tanulás képességét milyen mértékben lehet átültetni algoritmusokkal a gépi tanulási módszerekbe (nyelv megértés, ellenőrzött környezet) (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arley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61.)</a:t>
            </a:r>
          </a:p>
          <a:p>
            <a:pPr lvl="0"/>
            <a:r>
              <a:rPr lang="hu-HU" sz="16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hu-HU" sz="1600" b="1" dirty="0" err="1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t</a:t>
            </a:r>
            <a:r>
              <a:rPr lang="hu-HU" sz="16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ngs</a:t>
            </a:r>
            <a:endParaRPr lang="hu-HU" sz="1600" b="1" dirty="0">
              <a:solidFill>
                <a:srgbClr val="E200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ntelligens alkalmazások a gépi tanulás következtében képesek kommunikálni az emberrel és más alkalmazásokkal (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art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s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RFID - orvostudomány, robotika, katonaság,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ónok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kereskedelem)</a:t>
            </a:r>
          </a:p>
          <a:p>
            <a:r>
              <a:rPr lang="hu-HU" sz="16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trend: </a:t>
            </a:r>
            <a:r>
              <a:rPr lang="hu-HU" sz="1600" b="1" dirty="0" err="1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sational</a:t>
            </a:r>
            <a:r>
              <a:rPr lang="hu-HU" sz="16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s</a:t>
            </a:r>
            <a:endParaRPr lang="hu-HU" sz="1600" b="1" dirty="0">
              <a:solidFill>
                <a:srgbClr val="E2007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ndszerek képesek egyszerű válaszokra, vagy komplikált interakciókra,  párbeszédekre</a:t>
            </a:r>
          </a:p>
          <a:p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 trend: 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mersive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ce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mented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ty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rtual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ty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R, VR</a:t>
            </a:r>
          </a:p>
          <a:p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mberek érzékelik és kapcsolatba lépnek a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is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ilággal, a határok elmosódnak a való és virtuális valóság között (turisztika, művészet, okos város programok)</a:t>
            </a:r>
          </a:p>
          <a:p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 trend: </a:t>
            </a:r>
            <a:r>
              <a:rPr lang="hu-HU" sz="16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ent-drived</a:t>
            </a:r>
            <a:r>
              <a:rPr lang="hu-H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semény-vezérelt rendszerek</a:t>
            </a:r>
            <a:r>
              <a:rPr lang="hu-H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és más technológiák detektálják és gyorsan képesek analizálni a jelzéseket</a:t>
            </a:r>
          </a:p>
          <a:p>
            <a:r>
              <a:rPr lang="hu-HU" sz="16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 Folyamatos kockázatkezelés és biztonságnövelés</a:t>
            </a:r>
          </a:p>
          <a:p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16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y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örnyezet beépítése fontos elem a </a:t>
            </a:r>
            <a:r>
              <a:rPr lang="hu-HU" sz="1600" i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ke</a:t>
            </a:r>
            <a:r>
              <a:rPr lang="hu-HU" sz="16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i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s</a:t>
            </a:r>
            <a:r>
              <a:rPr lang="hu-HU" sz="16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más fals információk vagy fenyegetések ellensúlyozására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1600" dirty="0"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80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38</a:t>
            </a:fld>
            <a:endParaRPr lang="en-US" dirty="0"/>
          </a:p>
        </p:txBody>
      </p:sp>
      <p:sp>
        <p:nvSpPr>
          <p:cNvPr id="6" name="Szövegdoboz 5"/>
          <p:cNvSpPr txBox="1"/>
          <p:nvPr/>
        </p:nvSpPr>
        <p:spPr>
          <a:xfrm>
            <a:off x="590433" y="4966510"/>
            <a:ext cx="395804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err="1">
                <a:solidFill>
                  <a:srgbClr val="1E3770"/>
                </a:solidFill>
                <a:latin typeface="Calibri" panose="020F0502020204030204" pitchFamily="34" charset="0"/>
                <a:ea typeface="Swagger" pitchFamily="2" charset="0"/>
              </a:rPr>
              <a:t>Horvath.zoltanne</a:t>
            </a:r>
            <a:r>
              <a:rPr lang="hu-HU" sz="1800" dirty="0">
                <a:solidFill>
                  <a:srgbClr val="1E3770"/>
                </a:solidFill>
                <a:latin typeface="Calibri" panose="020F0502020204030204" pitchFamily="34" charset="0"/>
                <a:ea typeface="Swagger" pitchFamily="2" charset="0"/>
              </a:rPr>
              <a:t>@</a:t>
            </a:r>
            <a:r>
              <a:rPr lang="hu-HU" sz="1800" dirty="0" err="1">
                <a:solidFill>
                  <a:srgbClr val="1E3770"/>
                </a:solidFill>
                <a:latin typeface="Calibri" panose="020F0502020204030204" pitchFamily="34" charset="0"/>
                <a:ea typeface="Swagger" pitchFamily="2" charset="0"/>
              </a:rPr>
              <a:t>partner.t-systems.hu</a:t>
            </a:r>
            <a:endParaRPr lang="hu-HU" sz="1800" dirty="0">
              <a:solidFill>
                <a:srgbClr val="1E3770"/>
              </a:solidFill>
              <a:latin typeface="Calibri" panose="020F0502020204030204" pitchFamily="34" charset="0"/>
              <a:ea typeface="Swagger" pitchFamily="2" charset="0"/>
            </a:endParaRPr>
          </a:p>
        </p:txBody>
      </p:sp>
      <p:sp>
        <p:nvSpPr>
          <p:cNvPr id="11" name="Felhő 10"/>
          <p:cNvSpPr/>
          <p:nvPr/>
        </p:nvSpPr>
        <p:spPr bwMode="gray">
          <a:xfrm rot="2246050">
            <a:off x="6175882" y="234499"/>
            <a:ext cx="2481836" cy="2471320"/>
          </a:xfrm>
          <a:prstGeom prst="cloudCallout">
            <a:avLst/>
          </a:prstGeom>
          <a:solidFill>
            <a:schemeClr val="accent2">
              <a:lumMod val="20000"/>
              <a:lumOff val="80000"/>
            </a:schemeClr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22" name="Kép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83" y="382926"/>
            <a:ext cx="4542792" cy="3246204"/>
          </a:xfrm>
          <a:prstGeom prst="rect">
            <a:avLst/>
          </a:prstGeom>
        </p:spPr>
      </p:pic>
      <p:pic>
        <p:nvPicPr>
          <p:cNvPr id="18" name="Kép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760" y="687755"/>
            <a:ext cx="1198077" cy="1318273"/>
          </a:xfrm>
          <a:prstGeom prst="rect">
            <a:avLst/>
          </a:prstGeom>
        </p:spPr>
      </p:pic>
      <p:sp>
        <p:nvSpPr>
          <p:cNvPr id="8" name="Szövegdoboz 7"/>
          <p:cNvSpPr txBox="1"/>
          <p:nvPr/>
        </p:nvSpPr>
        <p:spPr>
          <a:xfrm>
            <a:off x="590433" y="4476000"/>
            <a:ext cx="4052819" cy="490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800" dirty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öszönöm a figyelmet!</a:t>
            </a:r>
          </a:p>
        </p:txBody>
      </p:sp>
      <p:pic>
        <p:nvPicPr>
          <p:cNvPr id="9" name="Kép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2102" y="3629130"/>
            <a:ext cx="3775064" cy="2519331"/>
          </a:xfrm>
          <a:prstGeom prst="rect">
            <a:avLst/>
          </a:prstGeom>
        </p:spPr>
      </p:pic>
      <p:sp>
        <p:nvSpPr>
          <p:cNvPr id="10" name="Szövegdoboz 9"/>
          <p:cNvSpPr txBox="1"/>
          <p:nvPr/>
        </p:nvSpPr>
        <p:spPr>
          <a:xfrm>
            <a:off x="5606366" y="3246728"/>
            <a:ext cx="3960523" cy="371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 jövő a könyvtárban van!</a:t>
            </a:r>
          </a:p>
        </p:txBody>
      </p:sp>
      <p:pic>
        <p:nvPicPr>
          <p:cNvPr id="12" name="Kép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5653" y="6414895"/>
            <a:ext cx="2648717" cy="9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84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62962" y="211625"/>
            <a:ext cx="9504233" cy="869030"/>
          </a:xfrm>
        </p:spPr>
        <p:txBody>
          <a:bodyPr/>
          <a:lstStyle/>
          <a:p>
            <a:pPr algn="ctr"/>
            <a:r>
              <a:rPr lang="hu-HU" altLang="hu-HU" sz="2800" dirty="0">
                <a:latin typeface="Arial" panose="020B0604020202020204" pitchFamily="34" charset="0"/>
                <a:cs typeface="Arial" panose="020B0604020202020204" pitchFamily="34" charset="0"/>
              </a:rPr>
              <a:t>Minden ma használatos technológiát felvált egy másik a közeljövőben</a:t>
            </a:r>
            <a:endParaRPr lang="hu-H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62963" y="1163782"/>
            <a:ext cx="6225962" cy="6397481"/>
          </a:xfrm>
          <a:solidFill>
            <a:schemeClr val="bg1"/>
          </a:solidFill>
        </p:spPr>
        <p:txBody>
          <a:bodyPr/>
          <a:lstStyle/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LSŐ KÖRNYEZET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vergencia, mobilitás, változékonyság, gyorsulás, növekedés, vizualitás, új technológiák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ális hálózati koncentráció, technológiai komplexitás, eszkalálódó követelmények (stagnáló költségvetés!)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épzés komplex követelményei, mobil technológia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ELHASZNÁLÓK 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web alapú felületek és útvonalak mellett döntöttek</a:t>
            </a:r>
          </a:p>
          <a:p>
            <a:pPr marL="499510" lvl="2" indent="-28351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adékok a generációk használói szemlélete között </a:t>
            </a: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GY KÖNYVTÁRI INTÉZMÉNYEK  dominanciája</a:t>
            </a:r>
          </a:p>
          <a:p>
            <a:pPr marL="480720" lvl="2" indent="-28351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centráció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a szolgáltatások mérete és komplexitása nehezen követhető a kisebb vállalkozások számára</a:t>
            </a:r>
          </a:p>
          <a:p>
            <a:pPr marL="480720" lvl="2" indent="-28351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operatív felhő rendszerek 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érleti igénybevétele</a:t>
            </a:r>
          </a:p>
          <a:p>
            <a:pPr marL="480720" lvl="2" indent="-28351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LC 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 000 könyvtári kapcsolat, 2,2 milliárd rekord     a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Cat-ben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öbb száz </a:t>
            </a:r>
            <a:r>
              <a:rPr lang="en-US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Share</a:t>
            </a:r>
            <a:r>
              <a:rPr lang="en-US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nagement Services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plementáció, LC kooperációk, stb.</a:t>
            </a:r>
            <a:endParaRPr lang="hu-HU" sz="2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3510" indent="-283510">
              <a:buFont typeface="Arial" panose="020B0604020202020204" pitchFamily="34" charset="0"/>
              <a:buChar char="•"/>
            </a:pPr>
            <a:r>
              <a:rPr lang="hu-H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I, REGIONÁLIS, LOKÁLIS - stratégiák</a:t>
            </a:r>
            <a:endParaRPr lang="hu-H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97210" lvl="2" indent="0">
              <a:buNone/>
            </a:pPr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6602681" y="1080655"/>
            <a:ext cx="3384467" cy="6228234"/>
          </a:xfrm>
          <a:prstGeom prst="rect">
            <a:avLst/>
          </a:prstGeom>
          <a:solidFill>
            <a:srgbClr val="1E3770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új technológia megértése </a:t>
            </a:r>
          </a:p>
          <a:p>
            <a:r>
              <a:rPr lang="hu-H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g</a:t>
            </a:r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adata</a:t>
            </a:r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ositories</a:t>
            </a:r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hu-H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antic</a:t>
            </a:r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eb (szabványok, leírási sémák, linked </a:t>
            </a:r>
            <a:r>
              <a:rPr lang="hu-H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</a:t>
            </a:r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ontológiák, stb.)</a:t>
            </a:r>
          </a:p>
          <a:p>
            <a:endParaRPr lang="hu-H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zeti, regionális és lokális rendszerek együttműködése</a:t>
            </a:r>
          </a:p>
          <a:p>
            <a:endParaRPr lang="hu-H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resés és </a:t>
            </a:r>
            <a:r>
              <a:rPr lang="hu-HU" sz="1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endParaRPr lang="hu-H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gérteni a kultúra és tudomány jelenségeit, analizálni és értelmezni az eredményeket, megtervezni a </a:t>
            </a:r>
            <a:r>
              <a:rPr lang="hu-H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overy</a:t>
            </a:r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örnyezetet, érteni, mit keres a használó</a:t>
            </a:r>
          </a:p>
          <a:p>
            <a:endParaRPr lang="hu-H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mai és tárgyismeret, helyi ismeretek</a:t>
            </a:r>
          </a:p>
          <a:p>
            <a:endParaRPr lang="hu-H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talános képességek, </a:t>
            </a:r>
            <a:r>
              <a:rPr lang="hu-HU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perszonális kapcsolatok képessége, szóban és írásban, life-</a:t>
            </a:r>
            <a:r>
              <a:rPr lang="hu-HU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endParaRPr lang="hu-H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 szemlélet</a:t>
            </a:r>
            <a:endParaRPr lang="hu-HU" sz="1600" b="1" dirty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53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z="1800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Aft>
                  <a:spcPct val="0"/>
                </a:spcAft>
              </a:pPr>
              <a:t>5</a:t>
            </a:fld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églalap 8"/>
          <p:cNvSpPr/>
          <p:nvPr/>
        </p:nvSpPr>
        <p:spPr>
          <a:xfrm>
            <a:off x="478652" y="1297286"/>
            <a:ext cx="9478118" cy="923330"/>
          </a:xfrm>
          <a:prstGeom prst="rect">
            <a:avLst/>
          </a:prstGeom>
          <a:solidFill>
            <a:srgbClr val="E5F1F5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266700" indent="-266700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akban 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yan innovációt érdemes szorgalmazni, </a:t>
            </a:r>
          </a:p>
          <a:p>
            <a:pPr marL="625475" lvl="1" indent="-358775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lynek eredményeként több információt,</a:t>
            </a:r>
          </a:p>
          <a:p>
            <a:pPr marL="625475" lvl="1" indent="-358775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bb embernek tudunk szolgáltatni, jobb elérhetőséggel</a:t>
            </a:r>
          </a:p>
        </p:txBody>
      </p:sp>
      <p:pic>
        <p:nvPicPr>
          <p:cNvPr id="10" name="Picture 6" descr="KÃ©ptalÃ¡lat a kÃ¶vetkezÅre: âegyensÃºlyozÃ¡s kÃ©pekâ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2005" y="2400146"/>
            <a:ext cx="3044765" cy="2086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églalap 1"/>
          <p:cNvSpPr/>
          <p:nvPr/>
        </p:nvSpPr>
        <p:spPr>
          <a:xfrm>
            <a:off x="360364" y="4625289"/>
            <a:ext cx="920652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emantikus web 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ényeges állomás a mesterséges intelligencia fejlődésében</a:t>
            </a:r>
          </a:p>
          <a:p>
            <a:pPr marL="531813" lvl="1" indent="-265113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datok és információk jelentéstani és logikai feltárására kidolgozott módszerek az információs hálóstruktúrákkal a teljes szövegű gépesített feldolgozás és szövegelemzés fejlődésének irányába mutatnak. </a:t>
            </a:r>
          </a:p>
          <a:p>
            <a:pPr marL="531813" lvl="1" indent="-265113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esterséges intelligencia kialakulásának kezdetei az agyi neuronok működésére vonatkozó ismeretekre épültek, amely a hálóstruktúrák és a tanulási folyamatok mesterséges modellezésében is megjelenik.</a:t>
            </a:r>
            <a:b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1813" indent="-265113">
              <a:buFont typeface="Arial" panose="020B0604020202020204" pitchFamily="34" charset="0"/>
              <a:buChar char="•"/>
            </a:pP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övegdoboz 5"/>
          <p:cNvSpPr txBox="1"/>
          <p:nvPr/>
        </p:nvSpPr>
        <p:spPr>
          <a:xfrm>
            <a:off x="440753" y="2364941"/>
            <a:ext cx="6471252" cy="2011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1800" i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„</a:t>
            </a:r>
            <a:r>
              <a:rPr lang="hu-HU" sz="1800" i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emantikus web-en…</a:t>
            </a:r>
          </a:p>
          <a:p>
            <a:pPr marL="531813" lvl="1" indent="-265113">
              <a:buFont typeface="Arial" panose="020B0604020202020204" pitchFamily="34" charset="0"/>
              <a:buChar char="•"/>
            </a:pPr>
            <a:r>
              <a:rPr lang="hu-HU" sz="1800" i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információforrások olyan egységes ontológianyelven vannak leírva, amely a lehető legközelebb áll az ember tudásreprezentációs és következtetési képességeihez.”</a:t>
            </a:r>
          </a:p>
          <a:p>
            <a:pPr marL="531813" lvl="1" indent="-265113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emantikus (értelmezési) környezet megteremtése és működtetése egyre növekvő mértékű, hatékony gépi feldolgozást valósít meg </a:t>
            </a:r>
            <a:r>
              <a:rPr lang="hu-HU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terjú </a:t>
            </a:r>
            <a:r>
              <a:rPr lang="hu-HU" sz="1800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uth</a:t>
            </a:r>
            <a:r>
              <a:rPr lang="hu-HU" sz="18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éterrel)</a:t>
            </a:r>
            <a:endParaRPr lang="hu-HU" sz="1800" dirty="0">
              <a:solidFill>
                <a:srgbClr val="FF0000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360363" y="254643"/>
            <a:ext cx="9206526" cy="938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800" dirty="0">
                <a:solidFill>
                  <a:schemeClr val="tx2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Könyvtári innováció - szemantikus és intelligens rendszerek</a:t>
            </a:r>
          </a:p>
        </p:txBody>
      </p:sp>
      <p:pic>
        <p:nvPicPr>
          <p:cNvPr id="8" name="Kép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449" y="6497002"/>
            <a:ext cx="2648717" cy="9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018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25338" y="174272"/>
            <a:ext cx="9364663" cy="588082"/>
          </a:xfrm>
        </p:spPr>
        <p:txBody>
          <a:bodyPr/>
          <a:lstStyle/>
          <a:p>
            <a:pPr algn="ctr"/>
            <a:r>
              <a:rPr lang="hu-HU" sz="28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géppel értelmezhető könyvtári adatoktól a mesterséges intelligenciáig</a:t>
            </a:r>
            <a:br>
              <a:rPr lang="hu-HU" sz="28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b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414270" y="1148873"/>
            <a:ext cx="9186798" cy="566858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nyvtári számbavétel, elérhetőség és teljesség követelményeihez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igitalizálás korában új eszközök, módszerek szükségesek – transzformáció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rtékmérő, hogy intelligens számítógépes programozással hogyan lehet kibővíteni    a könyvtárak áttekintő, értékelő és szolgáltatási tevékenységé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os mesterséges intelligencia eszközök könyvtári szempontból</a:t>
            </a:r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kus szövegfeldolgozás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gépi értelmezés, elemzés, felismerés és szövegalkotás, gépi fordítás, természetes nyelvi módszerek (NLP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ációforrások „mély” rétegeinek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utatása, keresése, értelmezése, öntanuló mechanizmusok beépítése </a:t>
            </a:r>
            <a:r>
              <a:rPr lang="hu-HU" b="1" i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b="1" i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ep</a:t>
            </a:r>
            <a:r>
              <a:rPr lang="hu-HU" b="1" i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ányzatok)</a:t>
            </a:r>
          </a:p>
          <a:p>
            <a:pPr marL="501750" lvl="2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értői tudásbázisokkal összefüggő automatizált folyamatok</a:t>
            </a:r>
          </a:p>
          <a:p>
            <a:pPr marL="717750" lvl="3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beszerzéstől kezdve a katalogizáláson át a szolgáltatásokig: az elsajátítást és alkalmazást támogató számítógépes képszerkesztő, animációs,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mented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ty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és </a:t>
            </a:r>
            <a:r>
              <a:rPr lang="hu-HU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flow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zközök beépítésével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omatikus tranzakciók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korábbi manuálisan végzett folyamatokban, információk, vizsgálatok, eredmények, eszközök, megoldások automatikus értelmezésén alapuló elemzési és következtetési eszközök használata;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ülső megoldások adaptációi 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ját feladatokra, stb</a:t>
            </a: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hu-HU" dirty="0">
              <a:solidFill>
                <a:srgbClr val="1E3770"/>
              </a:solidFill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6</a:t>
            </a:fld>
            <a:endParaRPr lang="en-US" dirty="0"/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1216" y="6334348"/>
            <a:ext cx="2648717" cy="966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82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55600" y="174272"/>
            <a:ext cx="9618394" cy="588082"/>
          </a:xfrm>
        </p:spPr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Az emberi intelligencia mesterséges szimulálása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79426" y="798924"/>
            <a:ext cx="9570741" cy="2315587"/>
          </a:xfrm>
          <a:solidFill>
            <a:schemeClr val="bg1"/>
          </a:solidFill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esterséges intelligencia digitális technológiai eszközkészlet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imulálja az emberi intelligencia működését</a:t>
            </a:r>
          </a:p>
          <a:p>
            <a:pPr marL="774900" lvl="3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épessé teszi az eszközöket magas szintű és komplex kérdések önálló megoldására gépi programozás alapján</a:t>
            </a:r>
          </a:p>
          <a:p>
            <a:pPr marL="990900" lvl="4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ze: tudásreprezentáció (leírás, adatbázisok) – amelyek kifejezik és leírják az intelligens viselkedést;</a:t>
            </a:r>
          </a:p>
          <a:p>
            <a:pPr marL="990900" lvl="4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ozott manipulációs eljárások és folyamatszabályozás, emberi probléma megoldási folyamat utánzása. Tóth M.3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z="1800" smtClean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Aft>
                  <a:spcPct val="0"/>
                </a:spcAft>
              </a:pPr>
              <a:t>7</a:t>
            </a:fld>
            <a:endParaRPr lang="en-US" sz="18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Kép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8862" y="2994104"/>
            <a:ext cx="1786476" cy="1756818"/>
          </a:xfrm>
          <a:prstGeom prst="rect">
            <a:avLst/>
          </a:prstGeom>
        </p:spPr>
      </p:pic>
      <p:sp>
        <p:nvSpPr>
          <p:cNvPr id="11" name="Tartalom helye 2"/>
          <p:cNvSpPr txBox="1">
            <a:spLocks/>
          </p:cNvSpPr>
          <p:nvPr/>
        </p:nvSpPr>
        <p:spPr bwMode="gray">
          <a:xfrm>
            <a:off x="355600" y="4269878"/>
            <a:ext cx="7648369" cy="96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nyvtárakban 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akterületen jellemző 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ri funkciók gépi programozása a könyvtári működési folyamatok logikája szerint</a:t>
            </a:r>
          </a:p>
          <a:p>
            <a:pPr lvl="2" indent="0">
              <a:buNone/>
            </a:pPr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b="1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zövegdoboz 11"/>
          <p:cNvSpPr txBox="1"/>
          <p:nvPr/>
        </p:nvSpPr>
        <p:spPr>
          <a:xfrm>
            <a:off x="1135913" y="3383147"/>
            <a:ext cx="5622186" cy="667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lvl="1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Emberi </a:t>
            </a: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lligencia mélyebb megismerése</a:t>
            </a:r>
          </a:p>
          <a:p>
            <a:pPr lvl="1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>
                <a:solidFill>
                  <a:srgbClr val="1E3770"/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Magasabb szintű programozás és felhasználás </a:t>
            </a:r>
          </a:p>
        </p:txBody>
      </p:sp>
      <p:sp>
        <p:nvSpPr>
          <p:cNvPr id="5" name="Szalagnyíl jobbra 4"/>
          <p:cNvSpPr/>
          <p:nvPr/>
        </p:nvSpPr>
        <p:spPr bwMode="gray">
          <a:xfrm>
            <a:off x="533065" y="3486584"/>
            <a:ext cx="998852" cy="499997"/>
          </a:xfrm>
          <a:prstGeom prst="curved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zalagnyíl balra 5"/>
          <p:cNvSpPr/>
          <p:nvPr/>
        </p:nvSpPr>
        <p:spPr bwMode="gray">
          <a:xfrm>
            <a:off x="6758099" y="3519173"/>
            <a:ext cx="981227" cy="467408"/>
          </a:xfrm>
          <a:prstGeom prst="curvedLef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artalom helye 2">
            <a:extLst>
              <a:ext uri="{FF2B5EF4-FFF2-40B4-BE49-F238E27FC236}">
                <a16:creationId xmlns:a16="http://schemas.microsoft.com/office/drawing/2014/main" id="{2F53B908-50D8-1A48-BFCA-363FD33E2A61}"/>
              </a:ext>
            </a:extLst>
          </p:cNvPr>
          <p:cNvSpPr txBox="1">
            <a:spLocks/>
          </p:cNvSpPr>
          <p:nvPr/>
        </p:nvSpPr>
        <p:spPr bwMode="gray">
          <a:xfrm>
            <a:off x="355600" y="5254727"/>
            <a:ext cx="8527143" cy="23155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pvető könyvtári és tudományos értelmezések, szakértői rendszerek</a:t>
            </a:r>
          </a:p>
          <a:p>
            <a:pPr marL="558900" lvl="2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gyományos szolgáltatások programozott folyamatai (katalogizálás, tartalmi feldolgozás, szövegelemzés, referencia szolgáltatás, stb.)</a:t>
            </a:r>
            <a:endParaRPr lang="hu-HU" b="1" dirty="0">
              <a:solidFill>
                <a:srgbClr val="1E377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Clr>
                <a:srgbClr val="E20074"/>
              </a:buClr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nálló és </a:t>
            </a:r>
            <a:r>
              <a:rPr lang="hu-HU" b="1" i="1" dirty="0" err="1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dded</a:t>
            </a:r>
            <a:r>
              <a:rPr lang="hu-HU" b="1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zámítógépes programok, </a:t>
            </a:r>
            <a:r>
              <a:rPr lang="hu-HU" dirty="0">
                <a:solidFill>
                  <a:srgbClr val="1E377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lyek szimulálják, kifejezik, vagy (részben) felváltják, kiegészítik a könyvtáros intelligens viselkedését</a:t>
            </a:r>
          </a:p>
        </p:txBody>
      </p:sp>
    </p:spTree>
    <p:extLst>
      <p:ext uri="{BB962C8B-B14F-4D97-AF65-F5344CB8AC3E}">
        <p14:creationId xmlns:p14="http://schemas.microsoft.com/office/powerpoint/2010/main" val="3247840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250" autoRev="1" fill="remove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3" dur="250" autoRev="1" fill="remove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4" dur="250" autoRev="1" fill="remove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" dur="250" autoRev="1" fill="remove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" dur="250" autoRev="1" fill="remove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8" dur="250" autoRev="1" fill="remove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9" dur="250" autoRev="1" fill="remove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" dur="250" autoRev="1" fill="remove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3" dur="250" autoRev="1" fill="remove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4" dur="250" autoRev="1" fill="remove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" dur="250" autoRev="1" fill="remove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7" dur="250" autoRev="1" fill="remove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8" dur="250" autoRev="1" fill="remove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9" dur="250" autoRev="1" fill="remove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0" dur="250" autoRev="1" fill="remove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2" dur="250" autoRev="1" fill="remove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3" dur="250" autoRev="1" fill="remove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4" dur="250" autoRev="1" fill="remove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5" dur="250" autoRev="1" fill="remove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1" dur="250" autoRev="1" fill="remove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2" dur="250" autoRev="1" fill="remove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3" dur="250" autoRev="1" fill="remove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50" autoRev="1" fill="remove"/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6" dur="250" autoRev="1" fill="remove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7" dur="250" autoRev="1" fill="remove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8" dur="250" autoRev="1" fill="remove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9" dur="250" autoRev="1" fill="remove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1" dur="250" autoRev="1" fill="remove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2" dur="250" autoRev="1" fill="remove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53" dur="250" autoRev="1" fill="remove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4" dur="250" autoRev="1" fill="remove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7" presetClass="emph" presetSubtype="0" fill="remove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8" dur="250" autoRev="1" fill="remove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9" dur="250" autoRev="1" fill="remove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0" dur="250" autoRev="1" fill="remove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1" dur="250" autoRev="1" fill="remove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animBg="1"/>
      <p:bldP spid="14" grpId="0" build="p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8</a:t>
            </a:fld>
            <a:endParaRPr lang="en-US" dirty="0"/>
          </a:p>
        </p:txBody>
      </p:sp>
      <p:sp>
        <p:nvSpPr>
          <p:cNvPr id="6" name="Cím 2">
            <a:extLst>
              <a:ext uri="{FF2B5EF4-FFF2-40B4-BE49-F238E27FC236}">
                <a16:creationId xmlns:a16="http://schemas.microsoft.com/office/drawing/2014/main" id="{F175A042-DD64-B949-AE88-DDA8F430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641" y="847250"/>
            <a:ext cx="8718397" cy="5470421"/>
          </a:xfrm>
        </p:spPr>
        <p:txBody>
          <a:bodyPr/>
          <a:lstStyle/>
          <a:p>
            <a:pPr algn="ctr"/>
            <a:r>
              <a:rPr lang="hu-HU" sz="2800" b="1" dirty="0">
                <a:latin typeface="Arial" panose="020B0604020202020204" pitchFamily="34" charset="0"/>
                <a:cs typeface="Arial" panose="020B0604020202020204" pitchFamily="34" charset="0"/>
              </a:rPr>
              <a:t>A szemantikus web</a:t>
            </a:r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>az adatok és információk gépi értelmezésével  megalapozza a mesterséges intelligencia fejlődését</a:t>
            </a:r>
            <a:b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  <a:t>A mesterséges intelligencia </a:t>
            </a:r>
            <a:br>
              <a:rPr lang="hu-HU" sz="1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működési sémája az agyi neuronokra vezethető vissza, amely a hálóstruktúrák és a tanulási folyamatok mesterséges modellezésében is megjelenik</a:t>
            </a:r>
            <a:b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Sem az intelligenciának, sem a mesterséges intelligenciának nincs általánosan elfogadott meghatározása</a:t>
            </a:r>
            <a:b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Fejlődését az emberi gondolkodás és emberi cselekvés szimulálásához kötik</a:t>
            </a:r>
            <a:b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Értékelése az emberi gondolkodás műveleteinek minősége,  a  racionális gondolkodás és cselekvés képessége vizsgálata alapján történik</a:t>
            </a:r>
            <a:b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Legfontosabb könyvtári vonatkozása a tudásközvetítéshez szükséges beszéd- és szövegfelismerés, az önálló tanulás képessége, a szövegek automatikus elemzése, a szövegek rejtett hálózatának feltárása („</a:t>
            </a:r>
            <a:r>
              <a:rPr lang="hu-HU" sz="1800" dirty="0" err="1">
                <a:latin typeface="Arial" panose="020B0604020202020204" pitchFamily="34" charset="0"/>
                <a:cs typeface="Arial" panose="020B0604020202020204" pitchFamily="34" charset="0"/>
              </a:rPr>
              <a:t>deep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” </a:t>
            </a:r>
            <a:r>
              <a:rPr lang="hu-HU" sz="1800" dirty="0" err="1">
                <a:latin typeface="Arial" panose="020B0604020202020204" pitchFamily="34" charset="0"/>
                <a:cs typeface="Arial" panose="020B0604020202020204" pitchFamily="34" charset="0"/>
              </a:rPr>
              <a:t>learning</a:t>
            </a:r>
            <a:r>
              <a:rPr lang="hu-HU" sz="1800" dirty="0">
                <a:latin typeface="Arial" panose="020B0604020202020204" pitchFamily="34" charset="0"/>
                <a:cs typeface="Arial" panose="020B0604020202020204" pitchFamily="34" charset="0"/>
              </a:rPr>
              <a:t>, web, stb.), a korábbi módszerekkel nem feltárható rejtett információs rétegek elérhetősége </a:t>
            </a:r>
          </a:p>
        </p:txBody>
      </p:sp>
    </p:spTree>
    <p:extLst>
      <p:ext uri="{BB962C8B-B14F-4D97-AF65-F5344CB8AC3E}">
        <p14:creationId xmlns:p14="http://schemas.microsoft.com/office/powerpoint/2010/main" val="268894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60000" y="294041"/>
            <a:ext cx="9524011" cy="588082"/>
          </a:xfrm>
        </p:spPr>
        <p:txBody>
          <a:bodyPr/>
          <a:lstStyle/>
          <a:p>
            <a:pPr algn="ctr"/>
            <a:r>
              <a:rPr lang="hu-HU" sz="2800" dirty="0">
                <a:latin typeface="Arial" panose="020B0604020202020204" pitchFamily="34" charset="0"/>
                <a:cs typeface="Arial" panose="020B0604020202020204" pitchFamily="34" charset="0"/>
              </a:rPr>
              <a:t>A mesterséges intelligencia - digitális eszközkészlet</a:t>
            </a:r>
            <a:endParaRPr lang="hu-HU" sz="2800" dirty="0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215382" y="999996"/>
            <a:ext cx="4024109" cy="2259597"/>
          </a:xfrm>
          <a:ln>
            <a:noFill/>
          </a:ln>
        </p:spPr>
        <p:txBody>
          <a:bodyPr/>
          <a:lstStyle/>
          <a:p>
            <a:pPr marL="96838"/>
            <a:r>
              <a:rPr lang="hu-HU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s szoftverrel szimulálják az intelligencia néhány vagy több komponensét</a:t>
            </a:r>
            <a:endParaRPr lang="hu-H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3" indent="-176213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nyolult feladatok számítógépes megoldása, </a:t>
            </a:r>
          </a:p>
          <a:p>
            <a:pPr marL="273050" lvl="3" indent="-176213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mbertől is kellő szakértelmet, kreativitást és intuíciót kíván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5393634" y="999996"/>
            <a:ext cx="4562734" cy="257231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yamatos tanulás ember és gép között, a fejlődő technológia új megoldásokat követ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lcsönhatás: 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Emberi 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lligencia  mélyebb megismerése, magasabb szintű programozás és felhasználá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A - </a:t>
            </a:r>
            <a:r>
              <a:rPr lang="hu-HU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Intelligence</a:t>
            </a: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 </a:t>
            </a:r>
            <a:r>
              <a:rPr lang="hu-HU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augmented</a:t>
            </a:r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Swagger" pitchFamily="2" charset="0"/>
                <a:cs typeface="Arial" panose="020B0604020202020204" pitchFamily="34" charset="0"/>
              </a:rPr>
              <a:t>: emberi intelligencia fejlesztése a helyettesítése vagy kiváltása helyett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hu-HU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z="1800" smtClean="0">
                <a:latin typeface="Arial" panose="020B0604020202020204" pitchFamily="34" charset="0"/>
                <a:cs typeface="Arial" panose="020B0604020202020204" pitchFamily="34" charset="0"/>
              </a:rPr>
              <a:pPr fontAlgn="base">
                <a:spcAft>
                  <a:spcPct val="0"/>
                </a:spcAft>
              </a:pPr>
              <a:t>9</a:t>
            </a:fld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artalom helye 2"/>
          <p:cNvSpPr txBox="1">
            <a:spLocks/>
          </p:cNvSpPr>
          <p:nvPr/>
        </p:nvSpPr>
        <p:spPr bwMode="gray">
          <a:xfrm>
            <a:off x="215382" y="5856827"/>
            <a:ext cx="4573523" cy="170443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6838" lvl="4" indent="0">
              <a:buNone/>
            </a:pPr>
            <a:r>
              <a:rPr lang="hu-HU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ozott manipulációs eljárások</a:t>
            </a:r>
          </a:p>
          <a:p>
            <a:pPr marL="382588" lvl="4" indent="-285750"/>
            <a:r>
              <a:rPr lang="hu-H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lyamatszabályozás, emberi probléma megoldási folyamat utánzása, következtetés, jóslás, analízis</a:t>
            </a:r>
          </a:p>
        </p:txBody>
      </p:sp>
      <p:sp>
        <p:nvSpPr>
          <p:cNvPr id="9" name="Téglalap 8"/>
          <p:cNvSpPr/>
          <p:nvPr/>
        </p:nvSpPr>
        <p:spPr>
          <a:xfrm>
            <a:off x="231517" y="3882871"/>
            <a:ext cx="4645024" cy="175432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lvl="4"/>
            <a:r>
              <a:rPr lang="hu-HU" sz="1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dásreprezentáció </a:t>
            </a:r>
          </a:p>
          <a:p>
            <a:pPr marL="273050" lvl="4" indent="-176213">
              <a:buFont typeface="Arial" panose="020B0604020202020204" pitchFamily="34" charset="0"/>
              <a:buChar char="•"/>
            </a:pPr>
            <a:r>
              <a:rPr lang="hu-HU" sz="18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dásbázis az intelligens emberi viselkedés  jellemzői (adatbázisok, leírások)</a:t>
            </a:r>
          </a:p>
          <a:p>
            <a:pPr marL="273050" lvl="4" indent="-176213">
              <a:buFont typeface="Arial" panose="020B0604020202020204" pitchFamily="34" charset="0"/>
              <a:buChar char="•"/>
            </a:pPr>
            <a:r>
              <a:rPr lang="hu-HU" sz="18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apvető tudományos értelmezések, szakértői rendszerek</a:t>
            </a:r>
            <a:endParaRPr lang="hu-H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Kép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1390" y="3957768"/>
            <a:ext cx="2743841" cy="2030442"/>
          </a:xfrm>
          <a:prstGeom prst="rect">
            <a:avLst/>
          </a:prstGeom>
        </p:spPr>
      </p:pic>
      <p:sp>
        <p:nvSpPr>
          <p:cNvPr id="15" name="Szövegdoboz 14"/>
          <p:cNvSpPr txBox="1"/>
          <p:nvPr/>
        </p:nvSpPr>
        <p:spPr>
          <a:xfrm>
            <a:off x="5711390" y="6123626"/>
            <a:ext cx="4244978" cy="917486"/>
          </a:xfrm>
          <a:prstGeom prst="rect">
            <a:avLst/>
          </a:prstGeom>
          <a:solidFill>
            <a:srgbClr val="1E3770"/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zakterületen jellemző </a:t>
            </a:r>
            <a:r>
              <a:rPr lang="hu-H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beri funkciók gépi programozása a könyvtári működési folyamatok logikája szerint</a:t>
            </a:r>
            <a:endParaRPr lang="hu-HU" sz="1800" dirty="0">
              <a:solidFill>
                <a:schemeClr val="bg1"/>
              </a:solidFill>
              <a:latin typeface="Arial" panose="020B0604020202020204" pitchFamily="34" charset="0"/>
              <a:ea typeface="Swagger" pitchFamily="2" charset="0"/>
              <a:cs typeface="Arial" panose="020B0604020202020204" pitchFamily="34" charset="0"/>
            </a:endParaRPr>
          </a:p>
        </p:txBody>
      </p:sp>
      <p:sp>
        <p:nvSpPr>
          <p:cNvPr id="20" name="Jobbra nyíl 19"/>
          <p:cNvSpPr/>
          <p:nvPr/>
        </p:nvSpPr>
        <p:spPr bwMode="gray">
          <a:xfrm>
            <a:off x="4584879" y="1665550"/>
            <a:ext cx="612775" cy="928488"/>
          </a:xfrm>
          <a:prstGeom prst="rightArrow">
            <a:avLst/>
          </a:prstGeom>
          <a:solidFill>
            <a:srgbClr val="00B0F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Kép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3472" y="2943980"/>
            <a:ext cx="1526139" cy="1500803"/>
          </a:xfrm>
          <a:prstGeom prst="rect">
            <a:avLst/>
          </a:prstGeom>
        </p:spPr>
      </p:pic>
      <p:sp>
        <p:nvSpPr>
          <p:cNvPr id="22" name="Lefelé nyíl 21"/>
          <p:cNvSpPr/>
          <p:nvPr/>
        </p:nvSpPr>
        <p:spPr bwMode="gray">
          <a:xfrm>
            <a:off x="1917824" y="3165992"/>
            <a:ext cx="998120" cy="625168"/>
          </a:xfrm>
          <a:prstGeom prst="downArrow">
            <a:avLst/>
          </a:prstGeom>
          <a:solidFill>
            <a:srgbClr val="00B0F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890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7" presetClass="emph" presetSubtype="0" fill="remove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250" autoRev="1" fill="remove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3" dur="250" autoRev="1" fill="remove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4" dur="250" autoRev="1" fill="remove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" dur="250" autoRev="1" fill="remove"/>
                                        <p:tgtEl>
                                          <p:spTgt spid="2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-Systems_MASTER_4-3_EN_20151005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-Systems_MASTER_4-3_EN_20150916" id="{DFEFAFB4-ABC7-4B25-965E-2C14A01E366B}" vid="{D2B6305F-D7EB-42C0-B52E-42296371498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-Systems_MASTER_4-3_EN_20151005</Template>
  <TotalTime>0</TotalTime>
  <Words>4692</Words>
  <Application>Microsoft Office PowerPoint</Application>
  <PresentationFormat>Egyéni</PresentationFormat>
  <Paragraphs>683</Paragraphs>
  <Slides>38</Slides>
  <Notes>1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2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38</vt:i4>
      </vt:variant>
    </vt:vector>
  </HeadingPairs>
  <TitlesOfParts>
    <vt:vector size="52" baseType="lpstr">
      <vt:lpstr>Arial</vt:lpstr>
      <vt:lpstr>Arial Unicode MS</vt:lpstr>
      <vt:lpstr>Calibri</vt:lpstr>
      <vt:lpstr>Swagger</vt:lpstr>
      <vt:lpstr>TeleGrotesk Headline</vt:lpstr>
      <vt:lpstr>TeleGrotesk Headline Ultra</vt:lpstr>
      <vt:lpstr>Tele-GroteskFet</vt:lpstr>
      <vt:lpstr>Tele-GroteskNor</vt:lpstr>
      <vt:lpstr>Tele-GroteskUlt</vt:lpstr>
      <vt:lpstr>Times New Roman</vt:lpstr>
      <vt:lpstr>Wingdings</vt:lpstr>
      <vt:lpstr>Wingdings 2</vt:lpstr>
      <vt:lpstr>T-Systems_MASTER_4-3_EN_20151005</vt:lpstr>
      <vt:lpstr>think-cell Folie</vt:lpstr>
      <vt:lpstr>PowerPoint-bemutató</vt:lpstr>
      <vt:lpstr>PowerPoint-bemutató</vt:lpstr>
      <vt:lpstr>PowerPoint-bemutató</vt:lpstr>
      <vt:lpstr>Minden ma használatos technológiát felvált egy másik a közeljövőben</vt:lpstr>
      <vt:lpstr>PowerPoint-bemutató</vt:lpstr>
      <vt:lpstr>A géppel értelmezhető könyvtári adatoktól a mesterséges intelligenciáig   </vt:lpstr>
      <vt:lpstr>Az emberi intelligencia mesterséges szimulálása</vt:lpstr>
      <vt:lpstr>A szemantikus web  az adatok és információk gépi értelmezésével  megalapozza a mesterséges intelligencia fejlődését  A mesterséges intelligencia  működési sémája az agyi neuronokra vezethető vissza, amely a hálóstruktúrák és a tanulási folyamatok mesterséges modellezésében is megjelenik  Sem az intelligenciának, sem a mesterséges intelligenciának nincs általánosan elfogadott meghatározása  Fejlődését az emberi gondolkodás és emberi cselekvés szimulálásához kötik  Értékelése az emberi gondolkodás műveleteinek minősége,  a  racionális gondolkodás és cselekvés képessége vizsgálata alapján történik  Legfontosabb könyvtári vonatkozása a tudásközvetítéshez szükséges beszéd- és szövegfelismerés, az önálló tanulás képessége, a szövegek automatikus elemzése, a szövegek rejtett hálózatának feltárása („deep” learning, web, stb.), a korábbi módszerekkel nem feltárható rejtett információs rétegek elérhetősége </vt:lpstr>
      <vt:lpstr>A mesterséges intelligencia - digitális eszközkészlet</vt:lpstr>
      <vt:lpstr>A mesterséges intelligencia hatása a szakkönyvtári szolgáltatásokra</vt:lpstr>
      <vt:lpstr>PowerPoint-bemutató</vt:lpstr>
      <vt:lpstr>Az értelmezés és a könyvtári alkalmazás</vt:lpstr>
      <vt:lpstr>A mesterséges intelligencia könyvtárak számára fontos innovációi</vt:lpstr>
      <vt:lpstr>Gépi tanulás tervezése</vt:lpstr>
      <vt:lpstr>A gépi tanulás és a mély rétegek a könyvtári szolgáltatások szempontjából    </vt:lpstr>
      <vt:lpstr>Open source Machine learning   https://link.springer.com/article/10.1007/s10462-018-09679-z </vt:lpstr>
      <vt:lpstr>Open source könyvtári Deep learning https://link.springer.com/article/10.1007/s10462-018-09679-z </vt:lpstr>
      <vt:lpstr>A tervezés és a kétségek</vt:lpstr>
      <vt:lpstr>Könyvtári mesterséges intelligencia területek – tudásreprezentáció alapokon</vt:lpstr>
      <vt:lpstr>Tudáselérés problémák az áttekintés emberi lehetőségéhez képest  túlméretezettek a források Géppel értelmezhető szemantikus adatkapcsolatok</vt:lpstr>
      <vt:lpstr>PowerPoint-bemutató</vt:lpstr>
      <vt:lpstr>Szemantikus keresők és szabad szöveges gépi kérdések és válaszok</vt:lpstr>
      <vt:lpstr>A robotok már a könyvtárban vannak…. </vt:lpstr>
      <vt:lpstr>Kérdés-válasz rendszerek automatizálása és IBM Watson</vt:lpstr>
      <vt:lpstr>Keresés az adatok mélyén – könyvtári üzleti intelligencia megoldások</vt:lpstr>
      <vt:lpstr>Mesterséges intelligencia „keresi a tűt a szénakazalban” </vt:lpstr>
      <vt:lpstr>Talk to book – a Google új mesterséges intelligencia keresője</vt:lpstr>
      <vt:lpstr>Könyvtári mesterséges intelligencia fejlesztése</vt:lpstr>
      <vt:lpstr>A könyvtári szakértői rendszerek </vt:lpstr>
      <vt:lpstr>Kooperatív könyvtári szakértői rendszerek</vt:lpstr>
      <vt:lpstr>Pl. Electronic database selection Expert system Wei Ma, Timothy W. Cole, több kiadásban (7.)</vt:lpstr>
      <vt:lpstr>Felkészülés </vt:lpstr>
      <vt:lpstr>Szemantikus adatmodellek – a mesterséges intelligencia osztályozásához </vt:lpstr>
      <vt:lpstr>Szabványos globális könyvtári rendszerek igénybe vétele</vt:lpstr>
      <vt:lpstr>Kooperáció – nemzeti és globális adatmenedzsment   </vt:lpstr>
      <vt:lpstr>Internet of Things (IoT) – egy új hálózati „second life”?</vt:lpstr>
      <vt:lpstr>Intelligens rendszerek fejlődési irányai (Gartner) </vt:lpstr>
      <vt:lpstr>PowerPoint-bemutat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tudományos könyvtárak és a mesterséges intelligencia</dc:title>
  <dc:creator/>
  <cp:lastModifiedBy/>
  <cp:revision>1</cp:revision>
  <cp:lastPrinted>2019-03-11T16:45:36Z</cp:lastPrinted>
  <dcterms:created xsi:type="dcterms:W3CDTF">2016-03-21T12:39:24Z</dcterms:created>
  <dcterms:modified xsi:type="dcterms:W3CDTF">2019-05-23T08:55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